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56" r:id="rId5"/>
    <p:sldId id="271" r:id="rId6"/>
    <p:sldId id="286" r:id="rId7"/>
    <p:sldId id="273" r:id="rId8"/>
    <p:sldId id="287" r:id="rId9"/>
    <p:sldId id="263" r:id="rId10"/>
    <p:sldId id="288" r:id="rId11"/>
    <p:sldId id="292" r:id="rId12"/>
    <p:sldId id="294" r:id="rId13"/>
    <p:sldId id="289" r:id="rId14"/>
    <p:sldId id="280" r:id="rId15"/>
    <p:sldId id="290" r:id="rId16"/>
    <p:sldId id="298" r:id="rId17"/>
  </p:sldIdLst>
  <p:sldSz cx="12192000" cy="6858000"/>
  <p:notesSz cx="6858000" cy="9144000"/>
  <p:custDataLst>
    <p:tags r:id="rId19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F8FF"/>
    <a:srgbClr val="2EC5FC"/>
    <a:srgbClr val="CAF0FE"/>
    <a:srgbClr val="A8E7FE"/>
    <a:srgbClr val="7F7F7F"/>
    <a:srgbClr val="03AB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9353A2-C05E-42B3-B188-F2AE32CC2A1F}" v="8237" dt="2022-11-24T15:44:04.334"/>
    <p1510:client id="{DE0C7E4A-E8D8-4CE7-A8B3-2AF426F55426}" v="2969" dt="2022-11-24T08:08:44.315"/>
    <p1510:client id="{E6212DA9-A5B3-4BD0-8CD8-4EB32D01FC19}" v="379" dt="2022-11-24T14:45:10.9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cas Sansalvador Esser" userId="6f6ae5ca-9893-4497-9926-b441a265f8c7" providerId="ADAL" clId="{E6212DA9-A5B3-4BD0-8CD8-4EB32D01FC19}"/>
    <pc:docChg chg="undo custSel modSld">
      <pc:chgData name="Lucas Sansalvador Esser" userId="6f6ae5ca-9893-4497-9926-b441a265f8c7" providerId="ADAL" clId="{E6212DA9-A5B3-4BD0-8CD8-4EB32D01FC19}" dt="2022-11-24T14:45:10.980" v="372" actId="20577"/>
      <pc:docMkLst>
        <pc:docMk/>
      </pc:docMkLst>
      <pc:sldChg chg="addSp delSp modSp mod">
        <pc:chgData name="Lucas Sansalvador Esser" userId="6f6ae5ca-9893-4497-9926-b441a265f8c7" providerId="ADAL" clId="{E6212DA9-A5B3-4BD0-8CD8-4EB32D01FC19}" dt="2022-11-24T14:42:14.277" v="367" actId="207"/>
        <pc:sldMkLst>
          <pc:docMk/>
          <pc:sldMk cId="2879843986" sldId="263"/>
        </pc:sldMkLst>
        <pc:spChg chg="add mod">
          <ac:chgData name="Lucas Sansalvador Esser" userId="6f6ae5ca-9893-4497-9926-b441a265f8c7" providerId="ADAL" clId="{E6212DA9-A5B3-4BD0-8CD8-4EB32D01FC19}" dt="2022-11-24T14:41:02.702" v="360" actId="1036"/>
          <ac:spMkLst>
            <pc:docMk/>
            <pc:sldMk cId="2879843986" sldId="263"/>
            <ac:spMk id="8" creationId="{D24F763F-3237-42BA-80D8-26784484720F}"/>
          </ac:spMkLst>
        </pc:spChg>
        <pc:spChg chg="add del mod">
          <ac:chgData name="Lucas Sansalvador Esser" userId="6f6ae5ca-9893-4497-9926-b441a265f8c7" providerId="ADAL" clId="{E6212DA9-A5B3-4BD0-8CD8-4EB32D01FC19}" dt="2022-11-24T08:20:08.767" v="10" actId="478"/>
          <ac:spMkLst>
            <pc:docMk/>
            <pc:sldMk cId="2879843986" sldId="263"/>
            <ac:spMk id="9" creationId="{7EC80B5A-8859-4AC4-84FA-0210E3D97C13}"/>
          </ac:spMkLst>
        </pc:spChg>
        <pc:spChg chg="add del mod">
          <ac:chgData name="Lucas Sansalvador Esser" userId="6f6ae5ca-9893-4497-9926-b441a265f8c7" providerId="ADAL" clId="{E6212DA9-A5B3-4BD0-8CD8-4EB32D01FC19}" dt="2022-11-24T08:19:10.258" v="8"/>
          <ac:spMkLst>
            <pc:docMk/>
            <pc:sldMk cId="2879843986" sldId="263"/>
            <ac:spMk id="10" creationId="{86080DE4-256D-4F97-92BC-CD12668A39A6}"/>
          </ac:spMkLst>
        </pc:spChg>
        <pc:spChg chg="add mod">
          <ac:chgData name="Lucas Sansalvador Esser" userId="6f6ae5ca-9893-4497-9926-b441a265f8c7" providerId="ADAL" clId="{E6212DA9-A5B3-4BD0-8CD8-4EB32D01FC19}" dt="2022-11-24T14:41:02.702" v="360" actId="1036"/>
          <ac:spMkLst>
            <pc:docMk/>
            <pc:sldMk cId="2879843986" sldId="263"/>
            <ac:spMk id="15" creationId="{DF91E8DD-A785-4240-86AC-A9290144B2D2}"/>
          </ac:spMkLst>
        </pc:spChg>
        <pc:spChg chg="mod">
          <ac:chgData name="Lucas Sansalvador Esser" userId="6f6ae5ca-9893-4497-9926-b441a265f8c7" providerId="ADAL" clId="{E6212DA9-A5B3-4BD0-8CD8-4EB32D01FC19}" dt="2022-11-24T14:41:02.702" v="360" actId="1036"/>
          <ac:spMkLst>
            <pc:docMk/>
            <pc:sldMk cId="2879843986" sldId="263"/>
            <ac:spMk id="16" creationId="{A0A37E11-EA52-4A73-8BB0-030B86E1CBB9}"/>
          </ac:spMkLst>
        </pc:spChg>
        <pc:spChg chg="mod">
          <ac:chgData name="Lucas Sansalvador Esser" userId="6f6ae5ca-9893-4497-9926-b441a265f8c7" providerId="ADAL" clId="{E6212DA9-A5B3-4BD0-8CD8-4EB32D01FC19}" dt="2022-11-24T14:41:02.702" v="360" actId="1036"/>
          <ac:spMkLst>
            <pc:docMk/>
            <pc:sldMk cId="2879843986" sldId="263"/>
            <ac:spMk id="18" creationId="{44E7359D-1342-4BE7-A798-34B00BCF23FB}"/>
          </ac:spMkLst>
        </pc:spChg>
        <pc:spChg chg="add mod ord">
          <ac:chgData name="Lucas Sansalvador Esser" userId="6f6ae5ca-9893-4497-9926-b441a265f8c7" providerId="ADAL" clId="{E6212DA9-A5B3-4BD0-8CD8-4EB32D01FC19}" dt="2022-11-24T14:42:14.277" v="367" actId="207"/>
          <ac:spMkLst>
            <pc:docMk/>
            <pc:sldMk cId="2879843986" sldId="263"/>
            <ac:spMk id="20" creationId="{43989180-D387-4BE7-99E7-0CC159E82EB6}"/>
          </ac:spMkLst>
        </pc:spChg>
        <pc:picChg chg="add mod">
          <ac:chgData name="Lucas Sansalvador Esser" userId="6f6ae5ca-9893-4497-9926-b441a265f8c7" providerId="ADAL" clId="{E6212DA9-A5B3-4BD0-8CD8-4EB32D01FC19}" dt="2022-11-24T14:41:02.702" v="360" actId="1036"/>
          <ac:picMkLst>
            <pc:docMk/>
            <pc:sldMk cId="2879843986" sldId="263"/>
            <ac:picMk id="12" creationId="{3A0B2473-6640-4DD5-924E-C247CA06DAA6}"/>
          </ac:picMkLst>
        </pc:picChg>
        <pc:picChg chg="add mod">
          <ac:chgData name="Lucas Sansalvador Esser" userId="6f6ae5ca-9893-4497-9926-b441a265f8c7" providerId="ADAL" clId="{E6212DA9-A5B3-4BD0-8CD8-4EB32D01FC19}" dt="2022-11-24T14:41:02.702" v="360" actId="1036"/>
          <ac:picMkLst>
            <pc:docMk/>
            <pc:sldMk cId="2879843986" sldId="263"/>
            <ac:picMk id="14" creationId="{C5DC9C33-8329-47F4-B827-5EF2F22CDBD5}"/>
          </ac:picMkLst>
        </pc:picChg>
        <pc:picChg chg="add mod">
          <ac:chgData name="Lucas Sansalvador Esser" userId="6f6ae5ca-9893-4497-9926-b441a265f8c7" providerId="ADAL" clId="{E6212DA9-A5B3-4BD0-8CD8-4EB32D01FC19}" dt="2022-11-24T14:41:02.702" v="360" actId="1036"/>
          <ac:picMkLst>
            <pc:docMk/>
            <pc:sldMk cId="2879843986" sldId="263"/>
            <ac:picMk id="17" creationId="{A4BAC884-70FE-420C-8753-C6125B2112C1}"/>
          </ac:picMkLst>
        </pc:picChg>
        <pc:picChg chg="add mod">
          <ac:chgData name="Lucas Sansalvador Esser" userId="6f6ae5ca-9893-4497-9926-b441a265f8c7" providerId="ADAL" clId="{E6212DA9-A5B3-4BD0-8CD8-4EB32D01FC19}" dt="2022-11-24T14:41:02.702" v="360" actId="1036"/>
          <ac:picMkLst>
            <pc:docMk/>
            <pc:sldMk cId="2879843986" sldId="263"/>
            <ac:picMk id="19" creationId="{08420DEB-DC77-456A-896B-C9AA7DAD4341}"/>
          </ac:picMkLst>
        </pc:picChg>
        <pc:cxnChg chg="add mod">
          <ac:chgData name="Lucas Sansalvador Esser" userId="6f6ae5ca-9893-4497-9926-b441a265f8c7" providerId="ADAL" clId="{E6212DA9-A5B3-4BD0-8CD8-4EB32D01FC19}" dt="2022-11-24T14:41:02.702" v="360" actId="1036"/>
          <ac:cxnSpMkLst>
            <pc:docMk/>
            <pc:sldMk cId="2879843986" sldId="263"/>
            <ac:cxnSpMk id="3" creationId="{ED52A115-5C0A-4AB5-9D40-39BF3F2825AE}"/>
          </ac:cxnSpMkLst>
        </pc:cxnChg>
      </pc:sldChg>
      <pc:sldChg chg="delSp modSp mod">
        <pc:chgData name="Lucas Sansalvador Esser" userId="6f6ae5ca-9893-4497-9926-b441a265f8c7" providerId="ADAL" clId="{E6212DA9-A5B3-4BD0-8CD8-4EB32D01FC19}" dt="2022-11-24T14:45:10.980" v="372" actId="20577"/>
        <pc:sldMkLst>
          <pc:docMk/>
          <pc:sldMk cId="1417928212" sldId="273"/>
        </pc:sldMkLst>
        <pc:spChg chg="mod topLvl">
          <ac:chgData name="Lucas Sansalvador Esser" userId="6f6ae5ca-9893-4497-9926-b441a265f8c7" providerId="ADAL" clId="{E6212DA9-A5B3-4BD0-8CD8-4EB32D01FC19}" dt="2022-11-24T14:15:23.732" v="211" actId="165"/>
          <ac:spMkLst>
            <pc:docMk/>
            <pc:sldMk cId="1417928212" sldId="273"/>
            <ac:spMk id="11" creationId="{CD067F6C-BEAF-401E-B70E-8BD8CF002D86}"/>
          </ac:spMkLst>
        </pc:spChg>
        <pc:spChg chg="mod topLvl">
          <ac:chgData name="Lucas Sansalvador Esser" userId="6f6ae5ca-9893-4497-9926-b441a265f8c7" providerId="ADAL" clId="{E6212DA9-A5B3-4BD0-8CD8-4EB32D01FC19}" dt="2022-11-24T14:15:23.732" v="211" actId="165"/>
          <ac:spMkLst>
            <pc:docMk/>
            <pc:sldMk cId="1417928212" sldId="273"/>
            <ac:spMk id="13" creationId="{CA4CBBC7-29BB-4E53-8A86-7B76F5624550}"/>
          </ac:spMkLst>
        </pc:spChg>
        <pc:spChg chg="mod topLvl">
          <ac:chgData name="Lucas Sansalvador Esser" userId="6f6ae5ca-9893-4497-9926-b441a265f8c7" providerId="ADAL" clId="{E6212DA9-A5B3-4BD0-8CD8-4EB32D01FC19}" dt="2022-11-24T14:15:23.732" v="211" actId="165"/>
          <ac:spMkLst>
            <pc:docMk/>
            <pc:sldMk cId="1417928212" sldId="273"/>
            <ac:spMk id="14" creationId="{A11E05B8-C5AE-43F5-AAB0-991ECCAF3E25}"/>
          </ac:spMkLst>
        </pc:spChg>
        <pc:spChg chg="mod topLvl">
          <ac:chgData name="Lucas Sansalvador Esser" userId="6f6ae5ca-9893-4497-9926-b441a265f8c7" providerId="ADAL" clId="{E6212DA9-A5B3-4BD0-8CD8-4EB32D01FC19}" dt="2022-11-24T14:15:46.183" v="215" actId="14100"/>
          <ac:spMkLst>
            <pc:docMk/>
            <pc:sldMk cId="1417928212" sldId="273"/>
            <ac:spMk id="15" creationId="{8BB81339-E192-4010-8ECA-9433C3121D6A}"/>
          </ac:spMkLst>
        </pc:spChg>
        <pc:spChg chg="mod topLvl">
          <ac:chgData name="Lucas Sansalvador Esser" userId="6f6ae5ca-9893-4497-9926-b441a265f8c7" providerId="ADAL" clId="{E6212DA9-A5B3-4BD0-8CD8-4EB32D01FC19}" dt="2022-11-24T14:45:10.980" v="372" actId="20577"/>
          <ac:spMkLst>
            <pc:docMk/>
            <pc:sldMk cId="1417928212" sldId="273"/>
            <ac:spMk id="16" creationId="{AA30AF37-C04D-4EE4-BAAD-F767CCE3694A}"/>
          </ac:spMkLst>
        </pc:spChg>
        <pc:spChg chg="mod topLvl">
          <ac:chgData name="Lucas Sansalvador Esser" userId="6f6ae5ca-9893-4497-9926-b441a265f8c7" providerId="ADAL" clId="{E6212DA9-A5B3-4BD0-8CD8-4EB32D01FC19}" dt="2022-11-24T14:15:46.183" v="215" actId="14100"/>
          <ac:spMkLst>
            <pc:docMk/>
            <pc:sldMk cId="1417928212" sldId="273"/>
            <ac:spMk id="17" creationId="{26E8A5CF-8847-4140-A8F2-BDD2FD3EE3F5}"/>
          </ac:spMkLst>
        </pc:spChg>
        <pc:grpChg chg="del">
          <ac:chgData name="Lucas Sansalvador Esser" userId="6f6ae5ca-9893-4497-9926-b441a265f8c7" providerId="ADAL" clId="{E6212DA9-A5B3-4BD0-8CD8-4EB32D01FC19}" dt="2022-11-24T14:15:23.732" v="211" actId="165"/>
          <ac:grpSpMkLst>
            <pc:docMk/>
            <pc:sldMk cId="1417928212" sldId="273"/>
            <ac:grpSpMk id="24" creationId="{293BD8AE-AA88-4E4E-B4B6-365589D5D202}"/>
          </ac:grpSpMkLst>
        </pc:grpChg>
        <pc:picChg chg="mod topLvl">
          <ac:chgData name="Lucas Sansalvador Esser" userId="6f6ae5ca-9893-4497-9926-b441a265f8c7" providerId="ADAL" clId="{E6212DA9-A5B3-4BD0-8CD8-4EB32D01FC19}" dt="2022-11-24T14:15:23.732" v="211" actId="165"/>
          <ac:picMkLst>
            <pc:docMk/>
            <pc:sldMk cId="1417928212" sldId="273"/>
            <ac:picMk id="12" creationId="{B915E89A-AC5C-4158-8817-BA2F370BDAB1}"/>
          </ac:picMkLst>
        </pc:picChg>
        <pc:picChg chg="mod topLvl">
          <ac:chgData name="Lucas Sansalvador Esser" userId="6f6ae5ca-9893-4497-9926-b441a265f8c7" providerId="ADAL" clId="{E6212DA9-A5B3-4BD0-8CD8-4EB32D01FC19}" dt="2022-11-24T14:15:23.732" v="211" actId="165"/>
          <ac:picMkLst>
            <pc:docMk/>
            <pc:sldMk cId="1417928212" sldId="273"/>
            <ac:picMk id="21" creationId="{7A1756A5-EDDE-4F18-8B90-62875F82E12D}"/>
          </ac:picMkLst>
        </pc:picChg>
        <pc:picChg chg="mod topLvl">
          <ac:chgData name="Lucas Sansalvador Esser" userId="6f6ae5ca-9893-4497-9926-b441a265f8c7" providerId="ADAL" clId="{E6212DA9-A5B3-4BD0-8CD8-4EB32D01FC19}" dt="2022-11-24T14:15:23.732" v="211" actId="165"/>
          <ac:picMkLst>
            <pc:docMk/>
            <pc:sldMk cId="1417928212" sldId="273"/>
            <ac:picMk id="23" creationId="{2915D073-2B1C-46E9-8C9E-F3973FD30CCA}"/>
          </ac:picMkLst>
        </pc:picChg>
      </pc:sldChg>
      <pc:sldChg chg="addSp modSp mod">
        <pc:chgData name="Lucas Sansalvador Esser" userId="6f6ae5ca-9893-4497-9926-b441a265f8c7" providerId="ADAL" clId="{E6212DA9-A5B3-4BD0-8CD8-4EB32D01FC19}" dt="2022-11-24T14:38:11.219" v="330" actId="207"/>
        <pc:sldMkLst>
          <pc:docMk/>
          <pc:sldMk cId="1327079639" sldId="280"/>
        </pc:sldMkLst>
        <pc:spChg chg="add mod">
          <ac:chgData name="Lucas Sansalvador Esser" userId="6f6ae5ca-9893-4497-9926-b441a265f8c7" providerId="ADAL" clId="{E6212DA9-A5B3-4BD0-8CD8-4EB32D01FC19}" dt="2022-11-24T08:29:09.140" v="116" actId="164"/>
          <ac:spMkLst>
            <pc:docMk/>
            <pc:sldMk cId="1327079639" sldId="280"/>
            <ac:spMk id="12" creationId="{8D9079AA-8F4F-4F43-B231-EC3308F4CD98}"/>
          </ac:spMkLst>
        </pc:spChg>
        <pc:spChg chg="add mod">
          <ac:chgData name="Lucas Sansalvador Esser" userId="6f6ae5ca-9893-4497-9926-b441a265f8c7" providerId="ADAL" clId="{E6212DA9-A5B3-4BD0-8CD8-4EB32D01FC19}" dt="2022-11-24T08:29:04.517" v="115" actId="164"/>
          <ac:spMkLst>
            <pc:docMk/>
            <pc:sldMk cId="1327079639" sldId="280"/>
            <ac:spMk id="13" creationId="{6344883C-DAAF-49EB-B1CD-CF1958F3DA3C}"/>
          </ac:spMkLst>
        </pc:spChg>
        <pc:grpChg chg="add mod">
          <ac:chgData name="Lucas Sansalvador Esser" userId="6f6ae5ca-9893-4497-9926-b441a265f8c7" providerId="ADAL" clId="{E6212DA9-A5B3-4BD0-8CD8-4EB32D01FC19}" dt="2022-11-24T08:29:09.140" v="116" actId="164"/>
          <ac:grpSpMkLst>
            <pc:docMk/>
            <pc:sldMk cId="1327079639" sldId="280"/>
            <ac:grpSpMk id="9" creationId="{A9279350-77A7-4F13-9CA6-471CA82B6575}"/>
          </ac:grpSpMkLst>
        </pc:grpChg>
        <pc:grpChg chg="add mod">
          <ac:chgData name="Lucas Sansalvador Esser" userId="6f6ae5ca-9893-4497-9926-b441a265f8c7" providerId="ADAL" clId="{E6212DA9-A5B3-4BD0-8CD8-4EB32D01FC19}" dt="2022-11-24T08:29:20.362" v="118" actId="164"/>
          <ac:grpSpMkLst>
            <pc:docMk/>
            <pc:sldMk cId="1327079639" sldId="280"/>
            <ac:grpSpMk id="14" creationId="{782322E2-FF3D-46BD-AE2E-0DDB8383FE5E}"/>
          </ac:grpSpMkLst>
        </pc:grpChg>
        <pc:grpChg chg="add mod">
          <ac:chgData name="Lucas Sansalvador Esser" userId="6f6ae5ca-9893-4497-9926-b441a265f8c7" providerId="ADAL" clId="{E6212DA9-A5B3-4BD0-8CD8-4EB32D01FC19}" dt="2022-11-24T08:29:20.362" v="118" actId="164"/>
          <ac:grpSpMkLst>
            <pc:docMk/>
            <pc:sldMk cId="1327079639" sldId="280"/>
            <ac:grpSpMk id="15" creationId="{52D5D7F8-8535-4C66-B53D-CC3D21065956}"/>
          </ac:grpSpMkLst>
        </pc:grpChg>
        <pc:grpChg chg="add mod">
          <ac:chgData name="Lucas Sansalvador Esser" userId="6f6ae5ca-9893-4497-9926-b441a265f8c7" providerId="ADAL" clId="{E6212DA9-A5B3-4BD0-8CD8-4EB32D01FC19}" dt="2022-11-24T14:37:11.106" v="324" actId="1076"/>
          <ac:grpSpMkLst>
            <pc:docMk/>
            <pc:sldMk cId="1327079639" sldId="280"/>
            <ac:grpSpMk id="16" creationId="{77ADC813-40D8-41A6-BFC5-DF082ED35F64}"/>
          </ac:grpSpMkLst>
        </pc:grpChg>
        <pc:graphicFrameChg chg="add mod modGraphic">
          <ac:chgData name="Lucas Sansalvador Esser" userId="6f6ae5ca-9893-4497-9926-b441a265f8c7" providerId="ADAL" clId="{E6212DA9-A5B3-4BD0-8CD8-4EB32D01FC19}" dt="2022-11-24T14:37:17.554" v="325" actId="1076"/>
          <ac:graphicFrameMkLst>
            <pc:docMk/>
            <pc:sldMk cId="1327079639" sldId="280"/>
            <ac:graphicFrameMk id="17" creationId="{D2AC5517-69D9-4223-9184-E48146D0B174}"/>
          </ac:graphicFrameMkLst>
        </pc:graphicFrameChg>
        <pc:graphicFrameChg chg="add mod">
          <ac:chgData name="Lucas Sansalvador Esser" userId="6f6ae5ca-9893-4497-9926-b441a265f8c7" providerId="ADAL" clId="{E6212DA9-A5B3-4BD0-8CD8-4EB32D01FC19}" dt="2022-11-24T14:38:11.219" v="330" actId="207"/>
          <ac:graphicFrameMkLst>
            <pc:docMk/>
            <pc:sldMk cId="1327079639" sldId="280"/>
            <ac:graphicFrameMk id="19" creationId="{E0F67F6C-2654-4AAA-B115-D5E9AF6E377B}"/>
          </ac:graphicFrameMkLst>
        </pc:graphicFrameChg>
        <pc:picChg chg="add mod">
          <ac:chgData name="Lucas Sansalvador Esser" userId="6f6ae5ca-9893-4497-9926-b441a265f8c7" providerId="ADAL" clId="{E6212DA9-A5B3-4BD0-8CD8-4EB32D01FC19}" dt="2022-11-24T08:25:59.396" v="42" actId="164"/>
          <ac:picMkLst>
            <pc:docMk/>
            <pc:sldMk cId="1327079639" sldId="280"/>
            <ac:picMk id="3" creationId="{8D0186EF-C4C9-48BB-9694-DA4589146B38}"/>
          </ac:picMkLst>
        </pc:picChg>
        <pc:picChg chg="add mod">
          <ac:chgData name="Lucas Sansalvador Esser" userId="6f6ae5ca-9893-4497-9926-b441a265f8c7" providerId="ADAL" clId="{E6212DA9-A5B3-4BD0-8CD8-4EB32D01FC19}" dt="2022-11-24T08:25:59.396" v="42" actId="164"/>
          <ac:picMkLst>
            <pc:docMk/>
            <pc:sldMk cId="1327079639" sldId="280"/>
            <ac:picMk id="8" creationId="{AC916BC7-3BA7-4020-BF81-C9660EC9819B}"/>
          </ac:picMkLst>
        </pc:picChg>
        <pc:picChg chg="add mod">
          <ac:chgData name="Lucas Sansalvador Esser" userId="6f6ae5ca-9893-4497-9926-b441a265f8c7" providerId="ADAL" clId="{E6212DA9-A5B3-4BD0-8CD8-4EB32D01FC19}" dt="2022-11-24T08:29:04.517" v="115" actId="164"/>
          <ac:picMkLst>
            <pc:docMk/>
            <pc:sldMk cId="1327079639" sldId="280"/>
            <ac:picMk id="11" creationId="{0AB200CA-CE30-4D51-838E-A7E17F7952AA}"/>
          </ac:picMkLst>
        </pc:picChg>
        <pc:picChg chg="add mod">
          <ac:chgData name="Lucas Sansalvador Esser" userId="6f6ae5ca-9893-4497-9926-b441a265f8c7" providerId="ADAL" clId="{E6212DA9-A5B3-4BD0-8CD8-4EB32D01FC19}" dt="2022-11-24T14:36:45.306" v="232" actId="1035"/>
          <ac:picMkLst>
            <pc:docMk/>
            <pc:sldMk cId="1327079639" sldId="280"/>
            <ac:picMk id="1026" creationId="{A7FCC856-DCAB-47D8-8A58-F19BF49CAA69}"/>
          </ac:picMkLst>
        </pc:picChg>
      </pc:sldChg>
      <pc:sldChg chg="addSp mod">
        <pc:chgData name="Lucas Sansalvador Esser" userId="6f6ae5ca-9893-4497-9926-b441a265f8c7" providerId="ADAL" clId="{E6212DA9-A5B3-4BD0-8CD8-4EB32D01FC19}" dt="2022-11-24T08:34:14.949" v="206" actId="22"/>
        <pc:sldMkLst>
          <pc:docMk/>
          <pc:sldMk cId="2365682816" sldId="282"/>
        </pc:sldMkLst>
        <pc:picChg chg="add">
          <ac:chgData name="Lucas Sansalvador Esser" userId="6f6ae5ca-9893-4497-9926-b441a265f8c7" providerId="ADAL" clId="{E6212DA9-A5B3-4BD0-8CD8-4EB32D01FC19}" dt="2022-11-24T08:34:14.949" v="206" actId="22"/>
          <ac:picMkLst>
            <pc:docMk/>
            <pc:sldMk cId="2365682816" sldId="282"/>
            <ac:picMk id="7" creationId="{9E397F5D-AD43-4775-B5CD-D7159A8625D2}"/>
          </ac:picMkLst>
        </pc:picChg>
      </pc:sldChg>
      <pc:sldChg chg="addSp modSp mod">
        <pc:chgData name="Lucas Sansalvador Esser" userId="6f6ae5ca-9893-4497-9926-b441a265f8c7" providerId="ADAL" clId="{E6212DA9-A5B3-4BD0-8CD8-4EB32D01FC19}" dt="2022-11-24T08:49:01.079" v="208" actId="1076"/>
        <pc:sldMkLst>
          <pc:docMk/>
          <pc:sldMk cId="3679977297" sldId="283"/>
        </pc:sldMkLst>
        <pc:picChg chg="add mod">
          <ac:chgData name="Lucas Sansalvador Esser" userId="6f6ae5ca-9893-4497-9926-b441a265f8c7" providerId="ADAL" clId="{E6212DA9-A5B3-4BD0-8CD8-4EB32D01FC19}" dt="2022-11-24T08:49:01.079" v="208" actId="1076"/>
          <ac:picMkLst>
            <pc:docMk/>
            <pc:sldMk cId="3679977297" sldId="283"/>
            <ac:picMk id="33" creationId="{D244B7AB-FE6A-44AF-A0C3-778BAB28CEF0}"/>
          </ac:picMkLst>
        </pc:picChg>
      </pc:sldChg>
      <pc:sldChg chg="modSp">
        <pc:chgData name="Lucas Sansalvador Esser" userId="6f6ae5ca-9893-4497-9926-b441a265f8c7" providerId="ADAL" clId="{E6212DA9-A5B3-4BD0-8CD8-4EB32D01FC19}" dt="2022-11-24T09:41:05.862" v="210"/>
        <pc:sldMkLst>
          <pc:docMk/>
          <pc:sldMk cId="2733567833" sldId="292"/>
        </pc:sldMkLst>
        <pc:picChg chg="mod">
          <ac:chgData name="Lucas Sansalvador Esser" userId="6f6ae5ca-9893-4497-9926-b441a265f8c7" providerId="ADAL" clId="{E6212DA9-A5B3-4BD0-8CD8-4EB32D01FC19}" dt="2022-11-24T09:41:05.862" v="210"/>
          <ac:picMkLst>
            <pc:docMk/>
            <pc:sldMk cId="2733567833" sldId="292"/>
            <ac:picMk id="15" creationId="{0549E6A2-0FDB-434F-B357-3937C34DD888}"/>
          </ac:picMkLst>
        </pc:picChg>
        <pc:picChg chg="mod">
          <ac:chgData name="Lucas Sansalvador Esser" userId="6f6ae5ca-9893-4497-9926-b441a265f8c7" providerId="ADAL" clId="{E6212DA9-A5B3-4BD0-8CD8-4EB32D01FC19}" dt="2022-11-24T09:40:58.469" v="209"/>
          <ac:picMkLst>
            <pc:docMk/>
            <pc:sldMk cId="2733567833" sldId="292"/>
            <ac:picMk id="32" creationId="{942974F0-4F27-47D9-A735-38DFE3569E9A}"/>
          </ac:picMkLst>
        </pc:picChg>
      </pc:sldChg>
      <pc:sldChg chg="modSp mod">
        <pc:chgData name="Lucas Sansalvador Esser" userId="6f6ae5ca-9893-4497-9926-b441a265f8c7" providerId="ADAL" clId="{E6212DA9-A5B3-4BD0-8CD8-4EB32D01FC19}" dt="2022-11-24T14:40:17.468" v="339" actId="1036"/>
        <pc:sldMkLst>
          <pc:docMk/>
          <pc:sldMk cId="971305813" sldId="294"/>
        </pc:sldMkLst>
        <pc:spChg chg="mod">
          <ac:chgData name="Lucas Sansalvador Esser" userId="6f6ae5ca-9893-4497-9926-b441a265f8c7" providerId="ADAL" clId="{E6212DA9-A5B3-4BD0-8CD8-4EB32D01FC19}" dt="2022-11-24T14:40:17.468" v="339" actId="1036"/>
          <ac:spMkLst>
            <pc:docMk/>
            <pc:sldMk cId="971305813" sldId="294"/>
            <ac:spMk id="32" creationId="{3D583D63-0882-4C55-BD4B-2E590E08833F}"/>
          </ac:spMkLst>
        </pc:spChg>
        <pc:spChg chg="mod">
          <ac:chgData name="Lucas Sansalvador Esser" userId="6f6ae5ca-9893-4497-9926-b441a265f8c7" providerId="ADAL" clId="{E6212DA9-A5B3-4BD0-8CD8-4EB32D01FC19}" dt="2022-11-24T14:40:17.468" v="339" actId="1036"/>
          <ac:spMkLst>
            <pc:docMk/>
            <pc:sldMk cId="971305813" sldId="294"/>
            <ac:spMk id="33" creationId="{976C883A-ECCE-434E-B156-0A5C49B0579C}"/>
          </ac:spMkLst>
        </pc:spChg>
        <pc:spChg chg="mod">
          <ac:chgData name="Lucas Sansalvador Esser" userId="6f6ae5ca-9893-4497-9926-b441a265f8c7" providerId="ADAL" clId="{E6212DA9-A5B3-4BD0-8CD8-4EB32D01FC19}" dt="2022-11-24T14:40:17.468" v="339" actId="1036"/>
          <ac:spMkLst>
            <pc:docMk/>
            <pc:sldMk cId="971305813" sldId="294"/>
            <ac:spMk id="34" creationId="{B2E20DB1-4C9B-439E-BAC5-DDAFBBE5F088}"/>
          </ac:spMkLst>
        </pc:spChg>
      </pc:sldChg>
      <pc:sldChg chg="modSp mod">
        <pc:chgData name="Lucas Sansalvador Esser" userId="6f6ae5ca-9893-4497-9926-b441a265f8c7" providerId="ADAL" clId="{E6212DA9-A5B3-4BD0-8CD8-4EB32D01FC19}" dt="2022-11-24T14:21:14.401" v="216" actId="1076"/>
        <pc:sldMkLst>
          <pc:docMk/>
          <pc:sldMk cId="2093512998" sldId="297"/>
        </pc:sldMkLst>
        <pc:spChg chg="mod">
          <ac:chgData name="Lucas Sansalvador Esser" userId="6f6ae5ca-9893-4497-9926-b441a265f8c7" providerId="ADAL" clId="{E6212DA9-A5B3-4BD0-8CD8-4EB32D01FC19}" dt="2022-11-24T14:21:14.401" v="216" actId="1076"/>
          <ac:spMkLst>
            <pc:docMk/>
            <pc:sldMk cId="2093512998" sldId="297"/>
            <ac:spMk id="37" creationId="{CE2DC969-3E8C-475F-AE65-E37EA5A376AC}"/>
          </ac:spMkLst>
        </pc:spChg>
      </pc:sldChg>
    </pc:docChg>
  </pc:docChgLst>
  <pc:docChgLst>
    <pc:chgData name="Pol Cunyat Llorens" userId="7d9d6803-1d02-4a93-b87d-f75ca3a15424" providerId="ADAL" clId="{709353A2-C05E-42B3-B188-F2AE32CC2A1F}"/>
    <pc:docChg chg="undo custSel addSld delSld modSld sldOrd">
      <pc:chgData name="Pol Cunyat Llorens" userId="7d9d6803-1d02-4a93-b87d-f75ca3a15424" providerId="ADAL" clId="{709353A2-C05E-42B3-B188-F2AE32CC2A1F}" dt="2022-11-24T15:44:04.334" v="4463" actId="1036"/>
      <pc:docMkLst>
        <pc:docMk/>
      </pc:docMkLst>
      <pc:sldChg chg="addSp delSp modSp add del mod">
        <pc:chgData name="Pol Cunyat Llorens" userId="7d9d6803-1d02-4a93-b87d-f75ca3a15424" providerId="ADAL" clId="{709353A2-C05E-42B3-B188-F2AE32CC2A1F}" dt="2022-11-24T14:29:33.499" v="4249" actId="20577"/>
        <pc:sldMkLst>
          <pc:docMk/>
          <pc:sldMk cId="2879843986" sldId="263"/>
        </pc:sldMkLst>
        <pc:spChg chg="add mod">
          <ac:chgData name="Pol Cunyat Llorens" userId="7d9d6803-1d02-4a93-b87d-f75ca3a15424" providerId="ADAL" clId="{709353A2-C05E-42B3-B188-F2AE32CC2A1F}" dt="2022-11-24T14:05:42.728" v="4142" actId="207"/>
          <ac:spMkLst>
            <pc:docMk/>
            <pc:sldMk cId="2879843986" sldId="263"/>
            <ac:spMk id="2" creationId="{BE19EE34-6717-4179-93E1-170AB28DFDD1}"/>
          </ac:spMkLst>
        </pc:spChg>
        <pc:spChg chg="del">
          <ac:chgData name="Pol Cunyat Llorens" userId="7d9d6803-1d02-4a93-b87d-f75ca3a15424" providerId="ADAL" clId="{709353A2-C05E-42B3-B188-F2AE32CC2A1F}" dt="2022-11-24T12:02:16.552" v="3829" actId="478"/>
          <ac:spMkLst>
            <pc:docMk/>
            <pc:sldMk cId="2879843986" sldId="263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14:29:33.499" v="4249" actId="20577"/>
          <ac:spMkLst>
            <pc:docMk/>
            <pc:sldMk cId="2879843986" sldId="263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11:59:47.883" v="3557" actId="208"/>
          <ac:spMkLst>
            <pc:docMk/>
            <pc:sldMk cId="2879843986" sldId="263"/>
            <ac:spMk id="8" creationId="{D24F763F-3237-42BA-80D8-26784484720F}"/>
          </ac:spMkLst>
        </pc:spChg>
        <pc:spChg chg="mod">
          <ac:chgData name="Pol Cunyat Llorens" userId="7d9d6803-1d02-4a93-b87d-f75ca3a15424" providerId="ADAL" clId="{709353A2-C05E-42B3-B188-F2AE32CC2A1F}" dt="2022-11-24T11:59:47.883" v="3557" actId="208"/>
          <ac:spMkLst>
            <pc:docMk/>
            <pc:sldMk cId="2879843986" sldId="263"/>
            <ac:spMk id="15" creationId="{DF91E8DD-A785-4240-86AC-A9290144B2D2}"/>
          </ac:spMkLst>
        </pc:spChg>
        <pc:spChg chg="add mod">
          <ac:chgData name="Pol Cunyat Llorens" userId="7d9d6803-1d02-4a93-b87d-f75ca3a15424" providerId="ADAL" clId="{709353A2-C05E-42B3-B188-F2AE32CC2A1F}" dt="2022-11-24T12:01:52.712" v="3824" actId="207"/>
          <ac:spMkLst>
            <pc:docMk/>
            <pc:sldMk cId="2879843986" sldId="263"/>
            <ac:spMk id="16" creationId="{A0A37E11-EA52-4A73-8BB0-030B86E1CBB9}"/>
          </ac:spMkLst>
        </pc:spChg>
        <pc:spChg chg="add mod">
          <ac:chgData name="Pol Cunyat Llorens" userId="7d9d6803-1d02-4a93-b87d-f75ca3a15424" providerId="ADAL" clId="{709353A2-C05E-42B3-B188-F2AE32CC2A1F}" dt="2022-11-24T12:02:07.680" v="3828" actId="207"/>
          <ac:spMkLst>
            <pc:docMk/>
            <pc:sldMk cId="2879843986" sldId="263"/>
            <ac:spMk id="18" creationId="{44E7359D-1342-4BE7-A798-34B00BCF23FB}"/>
          </ac:spMkLst>
        </pc:spChg>
        <pc:graphicFrameChg chg="mod">
          <ac:chgData name="Pol Cunyat Llorens" userId="7d9d6803-1d02-4a93-b87d-f75ca3a15424" providerId="ADAL" clId="{709353A2-C05E-42B3-B188-F2AE32CC2A1F}" dt="2022-11-24T14:29:33.487" v="4248" actId="1076"/>
          <ac:graphicFrameMkLst>
            <pc:docMk/>
            <pc:sldMk cId="2879843986" sldId="263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11:59:36.837" v="3555" actId="208"/>
          <ac:picMkLst>
            <pc:docMk/>
            <pc:sldMk cId="2879843986" sldId="263"/>
            <ac:picMk id="17" creationId="{A4BAC884-70FE-420C-8753-C6125B2112C1}"/>
          </ac:picMkLst>
        </pc:picChg>
        <pc:cxnChg chg="mod">
          <ac:chgData name="Pol Cunyat Llorens" userId="7d9d6803-1d02-4a93-b87d-f75ca3a15424" providerId="ADAL" clId="{709353A2-C05E-42B3-B188-F2AE32CC2A1F}" dt="2022-11-24T11:59:53.349" v="3558" actId="1582"/>
          <ac:cxnSpMkLst>
            <pc:docMk/>
            <pc:sldMk cId="2879843986" sldId="263"/>
            <ac:cxnSpMk id="3" creationId="{ED52A115-5C0A-4AB5-9D40-39BF3F2825AE}"/>
          </ac:cxnSpMkLst>
        </pc:cxnChg>
      </pc:sldChg>
      <pc:sldChg chg="modSp mod">
        <pc:chgData name="Pol Cunyat Llorens" userId="7d9d6803-1d02-4a93-b87d-f75ca3a15424" providerId="ADAL" clId="{709353A2-C05E-42B3-B188-F2AE32CC2A1F}" dt="2022-11-24T09:14:53.053" v="2551" actId="20577"/>
        <pc:sldMkLst>
          <pc:docMk/>
          <pc:sldMk cId="2389648504" sldId="271"/>
        </pc:sldMkLst>
        <pc:spChg chg="mod">
          <ac:chgData name="Pol Cunyat Llorens" userId="7d9d6803-1d02-4a93-b87d-f75ca3a15424" providerId="ADAL" clId="{709353A2-C05E-42B3-B188-F2AE32CC2A1F}" dt="2022-11-24T08:37:43.147" v="1246" actId="20577"/>
          <ac:spMkLst>
            <pc:docMk/>
            <pc:sldMk cId="2389648504" sldId="271"/>
            <ac:spMk id="9" creationId="{A1ECF1AE-AD9F-490F-A87F-41E553B2D773}"/>
          </ac:spMkLst>
        </pc:spChg>
        <pc:spChg chg="mod">
          <ac:chgData name="Pol Cunyat Llorens" userId="7d9d6803-1d02-4a93-b87d-f75ca3a15424" providerId="ADAL" clId="{709353A2-C05E-42B3-B188-F2AE32CC2A1F}" dt="2022-11-24T08:37:50.187" v="1271" actId="20577"/>
          <ac:spMkLst>
            <pc:docMk/>
            <pc:sldMk cId="2389648504" sldId="271"/>
            <ac:spMk id="10" creationId="{CC06FDDC-3AFE-46BB-A11E-D5052C877A2C}"/>
          </ac:spMkLst>
        </pc:spChg>
        <pc:spChg chg="mod">
          <ac:chgData name="Pol Cunyat Llorens" userId="7d9d6803-1d02-4a93-b87d-f75ca3a15424" providerId="ADAL" clId="{709353A2-C05E-42B3-B188-F2AE32CC2A1F}" dt="2022-11-24T09:14:53.053" v="2551" actId="20577"/>
          <ac:spMkLst>
            <pc:docMk/>
            <pc:sldMk cId="2389648504" sldId="271"/>
            <ac:spMk id="14" creationId="{C3F2BC44-DC60-40F0-B9CC-158F91A88998}"/>
          </ac:spMkLst>
        </pc:spChg>
      </pc:sldChg>
      <pc:sldChg chg="del">
        <pc:chgData name="Pol Cunyat Llorens" userId="7d9d6803-1d02-4a93-b87d-f75ca3a15424" providerId="ADAL" clId="{709353A2-C05E-42B3-B188-F2AE32CC2A1F}" dt="2022-11-24T08:38:32.906" v="1373" actId="47"/>
        <pc:sldMkLst>
          <pc:docMk/>
          <pc:sldMk cId="776263769" sldId="274"/>
        </pc:sldMkLst>
      </pc:sldChg>
      <pc:sldChg chg="del">
        <pc:chgData name="Pol Cunyat Llorens" userId="7d9d6803-1d02-4a93-b87d-f75ca3a15424" providerId="ADAL" clId="{709353A2-C05E-42B3-B188-F2AE32CC2A1F}" dt="2022-11-24T08:38:56.060" v="1415" actId="47"/>
        <pc:sldMkLst>
          <pc:docMk/>
          <pc:sldMk cId="1985110662" sldId="276"/>
        </pc:sldMkLst>
      </pc:sldChg>
      <pc:sldChg chg="del">
        <pc:chgData name="Pol Cunyat Llorens" userId="7d9d6803-1d02-4a93-b87d-f75ca3a15424" providerId="ADAL" clId="{709353A2-C05E-42B3-B188-F2AE32CC2A1F}" dt="2022-11-24T08:39:10.264" v="1422" actId="47"/>
        <pc:sldMkLst>
          <pc:docMk/>
          <pc:sldMk cId="3249601383" sldId="277"/>
        </pc:sldMkLst>
      </pc:sldChg>
      <pc:sldChg chg="del">
        <pc:chgData name="Pol Cunyat Llorens" userId="7d9d6803-1d02-4a93-b87d-f75ca3a15424" providerId="ADAL" clId="{709353A2-C05E-42B3-B188-F2AE32CC2A1F}" dt="2022-11-24T08:39:16.274" v="1427" actId="47"/>
        <pc:sldMkLst>
          <pc:docMk/>
          <pc:sldMk cId="3604296871" sldId="278"/>
        </pc:sldMkLst>
      </pc:sldChg>
      <pc:sldChg chg="del">
        <pc:chgData name="Pol Cunyat Llorens" userId="7d9d6803-1d02-4a93-b87d-f75ca3a15424" providerId="ADAL" clId="{709353A2-C05E-42B3-B188-F2AE32CC2A1F}" dt="2022-11-24T08:39:39.095" v="1437" actId="47"/>
        <pc:sldMkLst>
          <pc:docMk/>
          <pc:sldMk cId="2015615855" sldId="279"/>
        </pc:sldMkLst>
      </pc:sldChg>
      <pc:sldChg chg="delSp modSp mod ord">
        <pc:chgData name="Pol Cunyat Llorens" userId="7d9d6803-1d02-4a93-b87d-f75ca3a15424" providerId="ADAL" clId="{709353A2-C05E-42B3-B188-F2AE32CC2A1F}" dt="2022-11-24T14:06:48.054" v="4143" actId="478"/>
        <pc:sldMkLst>
          <pc:docMk/>
          <pc:sldMk cId="1327079639" sldId="280"/>
        </pc:sldMkLst>
        <pc:spChg chg="del">
          <ac:chgData name="Pol Cunyat Llorens" userId="7d9d6803-1d02-4a93-b87d-f75ca3a15424" providerId="ADAL" clId="{709353A2-C05E-42B3-B188-F2AE32CC2A1F}" dt="2022-11-24T14:06:48.054" v="4143" actId="478"/>
          <ac:spMkLst>
            <pc:docMk/>
            <pc:sldMk cId="1327079639" sldId="280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14:04:31.936" v="4140" actId="20577"/>
          <ac:spMkLst>
            <pc:docMk/>
            <pc:sldMk cId="1327079639" sldId="280"/>
            <ac:spMk id="5" creationId="{CFD70945-C5A1-42DE-AB29-2B84D5CB0D72}"/>
          </ac:spMkLst>
        </pc:spChg>
      </pc:sldChg>
      <pc:sldChg chg="addSp modSp del mod ord">
        <pc:chgData name="Pol Cunyat Llorens" userId="7d9d6803-1d02-4a93-b87d-f75ca3a15424" providerId="ADAL" clId="{709353A2-C05E-42B3-B188-F2AE32CC2A1F}" dt="2022-11-24T12:03:05.846" v="3833" actId="47"/>
        <pc:sldMkLst>
          <pc:docMk/>
          <pc:sldMk cId="831192321" sldId="281"/>
        </pc:sldMkLst>
        <pc:spChg chg="mod">
          <ac:chgData name="Pol Cunyat Llorens" userId="7d9d6803-1d02-4a93-b87d-f75ca3a15424" providerId="ADAL" clId="{709353A2-C05E-42B3-B188-F2AE32CC2A1F}" dt="2022-11-24T09:13:49.920" v="2462" actId="114"/>
          <ac:spMkLst>
            <pc:docMk/>
            <pc:sldMk cId="831192321" sldId="281"/>
            <ac:spMk id="5" creationId="{CFD70945-C5A1-42DE-AB29-2B84D5CB0D72}"/>
          </ac:spMkLst>
        </pc:spChg>
        <pc:picChg chg="mod">
          <ac:chgData name="Pol Cunyat Llorens" userId="7d9d6803-1d02-4a93-b87d-f75ca3a15424" providerId="ADAL" clId="{709353A2-C05E-42B3-B188-F2AE32CC2A1F}" dt="2022-11-24T08:13:58.896" v="21" actId="1076"/>
          <ac:picMkLst>
            <pc:docMk/>
            <pc:sldMk cId="831192321" sldId="281"/>
            <ac:picMk id="3" creationId="{831BCC1A-22B6-4F2A-B46C-172DC034A6E7}"/>
          </ac:picMkLst>
        </pc:picChg>
        <pc:picChg chg="add mod">
          <ac:chgData name="Pol Cunyat Llorens" userId="7d9d6803-1d02-4a93-b87d-f75ca3a15424" providerId="ADAL" clId="{709353A2-C05E-42B3-B188-F2AE32CC2A1F}" dt="2022-11-24T08:13:52.088" v="15" actId="1076"/>
          <ac:picMkLst>
            <pc:docMk/>
            <pc:sldMk cId="831192321" sldId="281"/>
            <ac:picMk id="7" creationId="{F3A6232B-8781-452B-B7D2-7A3F29900CA9}"/>
          </ac:picMkLst>
        </pc:picChg>
        <pc:picChg chg="mod">
          <ac:chgData name="Pol Cunyat Llorens" userId="7d9d6803-1d02-4a93-b87d-f75ca3a15424" providerId="ADAL" clId="{709353A2-C05E-42B3-B188-F2AE32CC2A1F}" dt="2022-11-24T08:13:55.048" v="18" actId="1076"/>
          <ac:picMkLst>
            <pc:docMk/>
            <pc:sldMk cId="831192321" sldId="281"/>
            <ac:picMk id="8" creationId="{939B82F5-4BFE-4069-99DA-5A3C647D5C6D}"/>
          </ac:picMkLst>
        </pc:picChg>
        <pc:picChg chg="add mod">
          <ac:chgData name="Pol Cunyat Llorens" userId="7d9d6803-1d02-4a93-b87d-f75ca3a15424" providerId="ADAL" clId="{709353A2-C05E-42B3-B188-F2AE32CC2A1F}" dt="2022-11-24T08:13:49.129" v="13" actId="14100"/>
          <ac:picMkLst>
            <pc:docMk/>
            <pc:sldMk cId="831192321" sldId="281"/>
            <ac:picMk id="10" creationId="{CF7CDBB1-666F-4E15-9E78-7D11EF86E387}"/>
          </ac:picMkLst>
        </pc:picChg>
        <pc:picChg chg="add mod">
          <ac:chgData name="Pol Cunyat Llorens" userId="7d9d6803-1d02-4a93-b87d-f75ca3a15424" providerId="ADAL" clId="{709353A2-C05E-42B3-B188-F2AE32CC2A1F}" dt="2022-11-24T08:13:46.792" v="11" actId="1076"/>
          <ac:picMkLst>
            <pc:docMk/>
            <pc:sldMk cId="831192321" sldId="281"/>
            <ac:picMk id="12" creationId="{C7D3DA14-74FA-4189-90F3-492FC945119F}"/>
          </ac:picMkLst>
        </pc:picChg>
        <pc:picChg chg="add mod">
          <ac:chgData name="Pol Cunyat Llorens" userId="7d9d6803-1d02-4a93-b87d-f75ca3a15424" providerId="ADAL" clId="{709353A2-C05E-42B3-B188-F2AE32CC2A1F}" dt="2022-11-24T08:13:58.031" v="20" actId="1076"/>
          <ac:picMkLst>
            <pc:docMk/>
            <pc:sldMk cId="831192321" sldId="281"/>
            <ac:picMk id="14" creationId="{85A1EE42-8200-4C13-BF7E-91E16D849CC3}"/>
          </ac:picMkLst>
        </pc:picChg>
      </pc:sldChg>
      <pc:sldChg chg="modSp add del mod ord">
        <pc:chgData name="Pol Cunyat Llorens" userId="7d9d6803-1d02-4a93-b87d-f75ca3a15424" providerId="ADAL" clId="{709353A2-C05E-42B3-B188-F2AE32CC2A1F}" dt="2022-11-24T08:49:48.995" v="1529" actId="47"/>
        <pc:sldMkLst>
          <pc:docMk/>
          <pc:sldMk cId="2365682816" sldId="282"/>
        </pc:sldMkLst>
        <pc:graphicFrameChg chg="mod">
          <ac:chgData name="Pol Cunyat Llorens" userId="7d9d6803-1d02-4a93-b87d-f75ca3a15424" providerId="ADAL" clId="{709353A2-C05E-42B3-B188-F2AE32CC2A1F}" dt="2022-11-24T08:35:33.881" v="1211"/>
          <ac:graphicFrameMkLst>
            <pc:docMk/>
            <pc:sldMk cId="2365682816" sldId="282"/>
            <ac:graphicFrameMk id="6" creationId="{3C4E2400-2539-4F37-8674-71CF91E3BB73}"/>
          </ac:graphicFrameMkLst>
        </pc:graphicFrameChg>
      </pc:sldChg>
      <pc:sldChg chg="addSp delSp modSp del mod ord">
        <pc:chgData name="Pol Cunyat Llorens" userId="7d9d6803-1d02-4a93-b87d-f75ca3a15424" providerId="ADAL" clId="{709353A2-C05E-42B3-B188-F2AE32CC2A1F}" dt="2022-11-24T09:00:19.990" v="1891" actId="47"/>
        <pc:sldMkLst>
          <pc:docMk/>
          <pc:sldMk cId="3679977297" sldId="283"/>
        </pc:sldMkLst>
        <pc:spChg chg="del">
          <ac:chgData name="Pol Cunyat Llorens" userId="7d9d6803-1d02-4a93-b87d-f75ca3a15424" providerId="ADAL" clId="{709353A2-C05E-42B3-B188-F2AE32CC2A1F}" dt="2022-11-24T08:14:18.563" v="25" actId="478"/>
          <ac:spMkLst>
            <pc:docMk/>
            <pc:sldMk cId="3679977297" sldId="283"/>
            <ac:spMk id="2" creationId="{E066A4C6-D987-4916-9F25-87F4C08A073D}"/>
          </ac:spMkLst>
        </pc:spChg>
        <pc:spChg chg="add del mod">
          <ac:chgData name="Pol Cunyat Llorens" userId="7d9d6803-1d02-4a93-b87d-f75ca3a15424" providerId="ADAL" clId="{709353A2-C05E-42B3-B188-F2AE32CC2A1F}" dt="2022-11-24T08:15:33.323" v="109" actId="478"/>
          <ac:spMkLst>
            <pc:docMk/>
            <pc:sldMk cId="3679977297" sldId="283"/>
            <ac:spMk id="3" creationId="{A6D0501A-84A7-49A4-8306-E178C751BB76}"/>
          </ac:spMkLst>
        </pc:spChg>
        <pc:spChg chg="add del mod ord">
          <ac:chgData name="Pol Cunyat Llorens" userId="7d9d6803-1d02-4a93-b87d-f75ca3a15424" providerId="ADAL" clId="{709353A2-C05E-42B3-B188-F2AE32CC2A1F}" dt="2022-11-24T08:32:53.238" v="1162" actId="478"/>
          <ac:spMkLst>
            <pc:docMk/>
            <pc:sldMk cId="3679977297" sldId="283"/>
            <ac:spMk id="4" creationId="{0713D094-5544-4038-A7B6-11AAC3006101}"/>
          </ac:spMkLst>
        </pc:spChg>
        <pc:spChg chg="mod ord">
          <ac:chgData name="Pol Cunyat Llorens" userId="7d9d6803-1d02-4a93-b87d-f75ca3a15424" providerId="ADAL" clId="{709353A2-C05E-42B3-B188-F2AE32CC2A1F}" dt="2022-11-24T08:50:19.219" v="1532"/>
          <ac:spMkLst>
            <pc:docMk/>
            <pc:sldMk cId="3679977297" sldId="283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709353A2-C05E-42B3-B188-F2AE32CC2A1F}" dt="2022-11-24T08:14:22.066" v="27" actId="478"/>
          <ac:spMkLst>
            <pc:docMk/>
            <pc:sldMk cId="3679977297" sldId="283"/>
            <ac:spMk id="7" creationId="{5BF48313-9311-4054-B25B-F1CA5C46E43A}"/>
          </ac:spMkLst>
        </pc:spChg>
        <pc:spChg chg="add del mod">
          <ac:chgData name="Pol Cunyat Llorens" userId="7d9d6803-1d02-4a93-b87d-f75ca3a15424" providerId="ADAL" clId="{709353A2-C05E-42B3-B188-F2AE32CC2A1F}" dt="2022-11-24T08:18:16.968" v="166" actId="478"/>
          <ac:spMkLst>
            <pc:docMk/>
            <pc:sldMk cId="3679977297" sldId="283"/>
            <ac:spMk id="8" creationId="{AC547BEF-6F2E-4352-8F4F-6BAAB6C44D87}"/>
          </ac:spMkLst>
        </pc:spChg>
        <pc:spChg chg="del">
          <ac:chgData name="Pol Cunyat Llorens" userId="7d9d6803-1d02-4a93-b87d-f75ca3a15424" providerId="ADAL" clId="{709353A2-C05E-42B3-B188-F2AE32CC2A1F}" dt="2022-11-24T08:14:22.066" v="27" actId="478"/>
          <ac:spMkLst>
            <pc:docMk/>
            <pc:sldMk cId="3679977297" sldId="283"/>
            <ac:spMk id="9" creationId="{C7838CBA-37AB-4D0A-8E4C-B06483B0309B}"/>
          </ac:spMkLst>
        </pc:spChg>
        <pc:spChg chg="add del mod or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0" creationId="{0245F444-EC24-4540-9DF0-24FDB22DDB42}"/>
          </ac:spMkLst>
        </pc:spChg>
        <pc:spChg chg="add del mod or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1" creationId="{810D3D63-C8EC-4E6F-94E2-0231F7F9E80A}"/>
          </ac:spMkLst>
        </pc:spChg>
        <pc:spChg chg="add del mo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2" creationId="{3A46C187-8998-4C7F-B9CF-91A264F32908}"/>
          </ac:spMkLst>
        </pc:spChg>
        <pc:spChg chg="add mod ord">
          <ac:chgData name="Pol Cunyat Llorens" userId="7d9d6803-1d02-4a93-b87d-f75ca3a15424" providerId="ADAL" clId="{709353A2-C05E-42B3-B188-F2AE32CC2A1F}" dt="2022-11-24T08:50:38.075" v="1551" actId="12789"/>
          <ac:spMkLst>
            <pc:docMk/>
            <pc:sldMk cId="3679977297" sldId="283"/>
            <ac:spMk id="13" creationId="{34C4E708-C099-4A03-BD6D-DFBE19D563FF}"/>
          </ac:spMkLst>
        </pc:spChg>
        <pc:spChg chg="add mod ord">
          <ac:chgData name="Pol Cunyat Llorens" userId="7d9d6803-1d02-4a93-b87d-f75ca3a15424" providerId="ADAL" clId="{709353A2-C05E-42B3-B188-F2AE32CC2A1F}" dt="2022-11-24T08:50:38.075" v="1551" actId="12789"/>
          <ac:spMkLst>
            <pc:docMk/>
            <pc:sldMk cId="3679977297" sldId="283"/>
            <ac:spMk id="14" creationId="{7353343D-BB8C-4168-B7F3-40E63E30CC81}"/>
          </ac:spMkLst>
        </pc:spChg>
        <pc:spChg chg="add del mo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5" creationId="{75E2C153-380F-49CC-B07D-A3BE8A239129}"/>
          </ac:spMkLst>
        </pc:spChg>
        <pc:spChg chg="add del mod">
          <ac:chgData name="Pol Cunyat Llorens" userId="7d9d6803-1d02-4a93-b87d-f75ca3a15424" providerId="ADAL" clId="{709353A2-C05E-42B3-B188-F2AE32CC2A1F}" dt="2022-11-24T08:20:37.512" v="293" actId="478"/>
          <ac:spMkLst>
            <pc:docMk/>
            <pc:sldMk cId="3679977297" sldId="283"/>
            <ac:spMk id="16" creationId="{ADC9EBA8-F315-4E56-86FE-7B2D593476C9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19" creationId="{2AF7FC5E-8BB4-48FD-956A-80740C139796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2" creationId="{DDA9D66D-6D7F-4AC1-840E-22E406E26232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6" creationId="{D49A6FE4-3D64-4A23-9AFD-14234C363278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7" creationId="{A5F27214-BB0D-47D6-8D5D-B348BB804428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8" creationId="{4F64CF48-5019-4033-ACB7-5CC402FDAE1F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29" creationId="{0658FA13-7837-45DE-8879-E117FAA7E856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30" creationId="{CD64F71D-D996-42DE-AEB1-9D0A121AA5A4}"/>
          </ac:spMkLst>
        </pc:spChg>
        <pc:spChg chg="add del mod">
          <ac:chgData name="Pol Cunyat Llorens" userId="7d9d6803-1d02-4a93-b87d-f75ca3a15424" providerId="ADAL" clId="{709353A2-C05E-42B3-B188-F2AE32CC2A1F}" dt="2022-11-24T08:44:04.986" v="1449" actId="478"/>
          <ac:spMkLst>
            <pc:docMk/>
            <pc:sldMk cId="3679977297" sldId="283"/>
            <ac:spMk id="31" creationId="{A085C923-6248-4FD5-9295-1A3DBF3A1F92}"/>
          </ac:spMkLst>
        </pc:spChg>
        <pc:spChg chg="add del">
          <ac:chgData name="Pol Cunyat Llorens" userId="7d9d6803-1d02-4a93-b87d-f75ca3a15424" providerId="ADAL" clId="{709353A2-C05E-42B3-B188-F2AE32CC2A1F}" dt="2022-11-24T08:49:42.097" v="1527" actId="478"/>
          <ac:spMkLst>
            <pc:docMk/>
            <pc:sldMk cId="3679977297" sldId="283"/>
            <ac:spMk id="34" creationId="{56A34AC2-5373-440C-83BC-4FD6F0860F26}"/>
          </ac:spMkLst>
        </pc:spChg>
        <pc:spChg chg="add mod ord">
          <ac:chgData name="Pol Cunyat Llorens" userId="7d9d6803-1d02-4a93-b87d-f75ca3a15424" providerId="ADAL" clId="{709353A2-C05E-42B3-B188-F2AE32CC2A1F}" dt="2022-11-24T08:50:19.220" v="1538"/>
          <ac:spMkLst>
            <pc:docMk/>
            <pc:sldMk cId="3679977297" sldId="283"/>
            <ac:spMk id="35" creationId="{7451CB25-9EFC-489A-9907-D390AF13B69E}"/>
          </ac:spMkLst>
        </pc:spChg>
        <pc:spChg chg="add mod ord">
          <ac:chgData name="Pol Cunyat Llorens" userId="7d9d6803-1d02-4a93-b87d-f75ca3a15424" providerId="ADAL" clId="{709353A2-C05E-42B3-B188-F2AE32CC2A1F}" dt="2022-11-24T08:50:38.075" v="1551" actId="12789"/>
          <ac:spMkLst>
            <pc:docMk/>
            <pc:sldMk cId="3679977297" sldId="283"/>
            <ac:spMk id="36" creationId="{AA0E32AB-2513-44B8-A6A8-2251E4BEA658}"/>
          </ac:spMkLst>
        </pc:spChg>
        <pc:spChg chg="add del mod">
          <ac:chgData name="Pol Cunyat Llorens" userId="7d9d6803-1d02-4a93-b87d-f75ca3a15424" providerId="ADAL" clId="{709353A2-C05E-42B3-B188-F2AE32CC2A1F}" dt="2022-11-24T08:50:56.027" v="1557" actId="478"/>
          <ac:spMkLst>
            <pc:docMk/>
            <pc:sldMk cId="3679977297" sldId="283"/>
            <ac:spMk id="37" creationId="{4BE04B33-899E-4898-814D-FB0C7076233C}"/>
          </ac:spMkLst>
        </pc:spChg>
        <pc:grpChg chg="add del mod">
          <ac:chgData name="Pol Cunyat Llorens" userId="7d9d6803-1d02-4a93-b87d-f75ca3a15424" providerId="ADAL" clId="{709353A2-C05E-42B3-B188-F2AE32CC2A1F}" dt="2022-11-24T08:25:32.948" v="601" actId="165"/>
          <ac:grpSpMkLst>
            <pc:docMk/>
            <pc:sldMk cId="3679977297" sldId="283"/>
            <ac:grpSpMk id="17" creationId="{842276E1-7C91-4980-B88C-292DE6B1FDD8}"/>
          </ac:grpSpMkLst>
        </pc:grpChg>
        <pc:grpChg chg="add del mod">
          <ac:chgData name="Pol Cunyat Llorens" userId="7d9d6803-1d02-4a93-b87d-f75ca3a15424" providerId="ADAL" clId="{709353A2-C05E-42B3-B188-F2AE32CC2A1F}" dt="2022-11-24T08:44:04.986" v="1449" actId="478"/>
          <ac:grpSpMkLst>
            <pc:docMk/>
            <pc:sldMk cId="3679977297" sldId="283"/>
            <ac:grpSpMk id="18" creationId="{CD08297B-3B2B-46B1-B5DA-BDA72AC241B1}"/>
          </ac:grpSpMkLst>
        </pc:grpChg>
        <pc:graphicFrameChg chg="mod">
          <ac:chgData name="Pol Cunyat Llorens" userId="7d9d6803-1d02-4a93-b87d-f75ca3a15424" providerId="ADAL" clId="{709353A2-C05E-42B3-B188-F2AE32CC2A1F}" dt="2022-11-24T08:50:19.226" v="1548"/>
          <ac:graphicFrameMkLst>
            <pc:docMk/>
            <pc:sldMk cId="3679977297" sldId="283"/>
            <ac:graphicFrameMk id="6" creationId="{3C4E2400-2539-4F37-8674-71CF91E3BB73}"/>
          </ac:graphicFrameMkLst>
        </pc:graphicFrameChg>
        <pc:picChg chg="mod ord modCrop">
          <ac:chgData name="Pol Cunyat Llorens" userId="7d9d6803-1d02-4a93-b87d-f75ca3a15424" providerId="ADAL" clId="{709353A2-C05E-42B3-B188-F2AE32CC2A1F}" dt="2022-11-24T08:50:38.075" v="1551" actId="12789"/>
          <ac:picMkLst>
            <pc:docMk/>
            <pc:sldMk cId="3679977297" sldId="283"/>
            <ac:picMk id="20" creationId="{C306C463-52CE-460F-ABCF-131FD57A3D4A}"/>
          </ac:picMkLst>
        </pc:picChg>
        <pc:picChg chg="del mod ord">
          <ac:chgData name="Pol Cunyat Llorens" userId="7d9d6803-1d02-4a93-b87d-f75ca3a15424" providerId="ADAL" clId="{709353A2-C05E-42B3-B188-F2AE32CC2A1F}" dt="2022-11-24T08:44:04.986" v="1449" actId="478"/>
          <ac:picMkLst>
            <pc:docMk/>
            <pc:sldMk cId="3679977297" sldId="283"/>
            <ac:picMk id="21" creationId="{158B97D8-8F02-4233-BACE-4A9820DF0C7E}"/>
          </ac:picMkLst>
        </pc:picChg>
        <pc:picChg chg="add mod topLvl">
          <ac:chgData name="Pol Cunyat Llorens" userId="7d9d6803-1d02-4a93-b87d-f75ca3a15424" providerId="ADAL" clId="{709353A2-C05E-42B3-B188-F2AE32CC2A1F}" dt="2022-11-24T08:30:57.616" v="1008"/>
          <ac:picMkLst>
            <pc:docMk/>
            <pc:sldMk cId="3679977297" sldId="283"/>
            <ac:picMk id="23" creationId="{B1EB42D6-CFCF-4217-8D3E-93B3D8B7D7FF}"/>
          </ac:picMkLst>
        </pc:picChg>
        <pc:picChg chg="add mod topLvl">
          <ac:chgData name="Pol Cunyat Llorens" userId="7d9d6803-1d02-4a93-b87d-f75ca3a15424" providerId="ADAL" clId="{709353A2-C05E-42B3-B188-F2AE32CC2A1F}" dt="2022-11-24T08:30:57.616" v="1008"/>
          <ac:picMkLst>
            <pc:docMk/>
            <pc:sldMk cId="3679977297" sldId="283"/>
            <ac:picMk id="24" creationId="{970C7D40-0C90-49C6-AE73-C9DB6D8807E2}"/>
          </ac:picMkLst>
        </pc:picChg>
        <pc:picChg chg="add mod topLvl">
          <ac:chgData name="Pol Cunyat Llorens" userId="7d9d6803-1d02-4a93-b87d-f75ca3a15424" providerId="ADAL" clId="{709353A2-C05E-42B3-B188-F2AE32CC2A1F}" dt="2022-11-24T08:32:39.797" v="1159" actId="1037"/>
          <ac:picMkLst>
            <pc:docMk/>
            <pc:sldMk cId="3679977297" sldId="283"/>
            <ac:picMk id="25" creationId="{88BFF489-26D0-4139-9493-1970AE5A325E}"/>
          </ac:picMkLst>
        </pc:picChg>
        <pc:picChg chg="add mod ord">
          <ac:chgData name="Pol Cunyat Llorens" userId="7d9d6803-1d02-4a93-b87d-f75ca3a15424" providerId="ADAL" clId="{709353A2-C05E-42B3-B188-F2AE32CC2A1F}" dt="2022-11-24T08:50:19.220" v="1534"/>
          <ac:picMkLst>
            <pc:docMk/>
            <pc:sldMk cId="3679977297" sldId="283"/>
            <ac:picMk id="32" creationId="{942974F0-4F27-47D9-A735-38DFE3569E9A}"/>
          </ac:picMkLst>
        </pc:picChg>
        <pc:picChg chg="mod ord">
          <ac:chgData name="Pol Cunyat Llorens" userId="7d9d6803-1d02-4a93-b87d-f75ca3a15424" providerId="ADAL" clId="{709353A2-C05E-42B3-B188-F2AE32CC2A1F}" dt="2022-11-24T08:50:19.220" v="1536"/>
          <ac:picMkLst>
            <pc:docMk/>
            <pc:sldMk cId="3679977297" sldId="283"/>
            <ac:picMk id="33" creationId="{D244B7AB-FE6A-44AF-A0C3-778BAB28CEF0}"/>
          </ac:picMkLst>
        </pc:picChg>
      </pc:sldChg>
      <pc:sldChg chg="modSp add del ord">
        <pc:chgData name="Pol Cunyat Llorens" userId="7d9d6803-1d02-4a93-b87d-f75ca3a15424" providerId="ADAL" clId="{709353A2-C05E-42B3-B188-F2AE32CC2A1F}" dt="2022-11-24T08:40:31.792" v="1446" actId="47"/>
        <pc:sldMkLst>
          <pc:docMk/>
          <pc:sldMk cId="2133676416" sldId="284"/>
        </pc:sldMkLst>
        <pc:spChg chg="mod">
          <ac:chgData name="Pol Cunyat Llorens" userId="7d9d6803-1d02-4a93-b87d-f75ca3a15424" providerId="ADAL" clId="{709353A2-C05E-42B3-B188-F2AE32CC2A1F}" dt="2022-11-24T08:14:03.109" v="23"/>
          <ac:spMkLst>
            <pc:docMk/>
            <pc:sldMk cId="2133676416" sldId="284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08:14:03.109" v="23"/>
          <ac:spMkLst>
            <pc:docMk/>
            <pc:sldMk cId="2133676416" sldId="284"/>
            <ac:spMk id="5" creationId="{CFD70945-C5A1-42DE-AB29-2B84D5CB0D72}"/>
          </ac:spMkLst>
        </pc:spChg>
        <pc:grpChg chg="mod">
          <ac:chgData name="Pol Cunyat Llorens" userId="7d9d6803-1d02-4a93-b87d-f75ca3a15424" providerId="ADAL" clId="{709353A2-C05E-42B3-B188-F2AE32CC2A1F}" dt="2022-11-24T08:14:03.109" v="23"/>
          <ac:grpSpMkLst>
            <pc:docMk/>
            <pc:sldMk cId="2133676416" sldId="284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14:03.109" v="23"/>
          <ac:graphicFrameMkLst>
            <pc:docMk/>
            <pc:sldMk cId="2133676416" sldId="284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3" creationId="{831BCC1A-22B6-4F2A-B46C-172DC034A6E7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7" creationId="{F3A6232B-8781-452B-B7D2-7A3F29900CA9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8" creationId="{939B82F5-4BFE-4069-99DA-5A3C647D5C6D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10" creationId="{CF7CDBB1-666F-4E15-9E78-7D11EF86E387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12" creationId="{C7D3DA14-74FA-4189-90F3-492FC945119F}"/>
          </ac:picMkLst>
        </pc:picChg>
        <pc:picChg chg="mod">
          <ac:chgData name="Pol Cunyat Llorens" userId="7d9d6803-1d02-4a93-b87d-f75ca3a15424" providerId="ADAL" clId="{709353A2-C05E-42B3-B188-F2AE32CC2A1F}" dt="2022-11-24T08:14:03.109" v="23"/>
          <ac:picMkLst>
            <pc:docMk/>
            <pc:sldMk cId="2133676416" sldId="284"/>
            <ac:picMk id="14" creationId="{85A1EE42-8200-4C13-BF7E-91E16D849CC3}"/>
          </ac:picMkLst>
        </pc:picChg>
      </pc:sldChg>
      <pc:sldChg chg="modSp add del mod ord">
        <pc:chgData name="Pol Cunyat Llorens" userId="7d9d6803-1d02-4a93-b87d-f75ca3a15424" providerId="ADAL" clId="{709353A2-C05E-42B3-B188-F2AE32CC2A1F}" dt="2022-11-24T09:13:17.986" v="2425" actId="47"/>
        <pc:sldMkLst>
          <pc:docMk/>
          <pc:sldMk cId="619132973" sldId="285"/>
        </pc:sldMkLst>
        <pc:spChg chg="mod">
          <ac:chgData name="Pol Cunyat Llorens" userId="7d9d6803-1d02-4a93-b87d-f75ca3a15424" providerId="ADAL" clId="{709353A2-C05E-42B3-B188-F2AE32CC2A1F}" dt="2022-11-24T08:36:20.760" v="1216"/>
          <ac:spMkLst>
            <pc:docMk/>
            <pc:sldMk cId="619132973" sldId="285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08:36:24.932" v="1225" actId="20577"/>
          <ac:spMkLst>
            <pc:docMk/>
            <pc:sldMk cId="619132973" sldId="285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36:20.760" v="1216"/>
          <ac:spMkLst>
            <pc:docMk/>
            <pc:sldMk cId="619132973" sldId="285"/>
            <ac:spMk id="12" creationId="{8D9079AA-8F4F-4F43-B231-EC3308F4CD98}"/>
          </ac:spMkLst>
        </pc:spChg>
        <pc:spChg chg="mod">
          <ac:chgData name="Pol Cunyat Llorens" userId="7d9d6803-1d02-4a93-b87d-f75ca3a15424" providerId="ADAL" clId="{709353A2-C05E-42B3-B188-F2AE32CC2A1F}" dt="2022-11-24T08:36:20.760" v="1216"/>
          <ac:spMkLst>
            <pc:docMk/>
            <pc:sldMk cId="619132973" sldId="285"/>
            <ac:spMk id="13" creationId="{6344883C-DAAF-49EB-B1CD-CF1958F3DA3C}"/>
          </ac:spMkLst>
        </pc:s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1" creationId="{00000000-0000-0000-0000-000000000000}"/>
          </ac:grpSpMkLst>
        </pc:gr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9" creationId="{A9279350-77A7-4F13-9CA6-471CA82B6575}"/>
          </ac:grpSpMkLst>
        </pc:gr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14" creationId="{782322E2-FF3D-46BD-AE2E-0DDB8383FE5E}"/>
          </ac:grpSpMkLst>
        </pc:gr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15" creationId="{52D5D7F8-8535-4C66-B53D-CC3D21065956}"/>
          </ac:grpSpMkLst>
        </pc:grpChg>
        <pc:grpChg chg="mod">
          <ac:chgData name="Pol Cunyat Llorens" userId="7d9d6803-1d02-4a93-b87d-f75ca3a15424" providerId="ADAL" clId="{709353A2-C05E-42B3-B188-F2AE32CC2A1F}" dt="2022-11-24T08:36:20.760" v="1216"/>
          <ac:grpSpMkLst>
            <pc:docMk/>
            <pc:sldMk cId="619132973" sldId="285"/>
            <ac:grpSpMk id="16" creationId="{77ADC813-40D8-41A6-BFC5-DF082ED35F64}"/>
          </ac:grpSpMkLst>
        </pc:grpChg>
        <pc:graphicFrameChg chg="mod">
          <ac:chgData name="Pol Cunyat Llorens" userId="7d9d6803-1d02-4a93-b87d-f75ca3a15424" providerId="ADAL" clId="{709353A2-C05E-42B3-B188-F2AE32CC2A1F}" dt="2022-11-24T08:36:20.760" v="1216"/>
          <ac:graphicFrameMkLst>
            <pc:docMk/>
            <pc:sldMk cId="619132973" sldId="285"/>
            <ac:graphicFrameMk id="6" creationId="{3C4E2400-2539-4F37-8674-71CF91E3BB73}"/>
          </ac:graphicFrameMkLst>
        </pc:graphicFrameChg>
        <pc:graphicFrameChg chg="mod">
          <ac:chgData name="Pol Cunyat Llorens" userId="7d9d6803-1d02-4a93-b87d-f75ca3a15424" providerId="ADAL" clId="{709353A2-C05E-42B3-B188-F2AE32CC2A1F}" dt="2022-11-24T08:36:20.760" v="1216"/>
          <ac:graphicFrameMkLst>
            <pc:docMk/>
            <pc:sldMk cId="619132973" sldId="285"/>
            <ac:graphicFrameMk id="17" creationId="{D2AC5517-69D9-4223-9184-E48146D0B174}"/>
          </ac:graphicFrameMkLst>
        </pc:graphicFrameChg>
        <pc:picChg chg="mod">
          <ac:chgData name="Pol Cunyat Llorens" userId="7d9d6803-1d02-4a93-b87d-f75ca3a15424" providerId="ADAL" clId="{709353A2-C05E-42B3-B188-F2AE32CC2A1F}" dt="2022-11-24T08:36:20.760" v="1216"/>
          <ac:picMkLst>
            <pc:docMk/>
            <pc:sldMk cId="619132973" sldId="285"/>
            <ac:picMk id="3" creationId="{8D0186EF-C4C9-48BB-9694-DA4589146B38}"/>
          </ac:picMkLst>
        </pc:picChg>
        <pc:picChg chg="mod">
          <ac:chgData name="Pol Cunyat Llorens" userId="7d9d6803-1d02-4a93-b87d-f75ca3a15424" providerId="ADAL" clId="{709353A2-C05E-42B3-B188-F2AE32CC2A1F}" dt="2022-11-24T08:36:20.760" v="1216"/>
          <ac:picMkLst>
            <pc:docMk/>
            <pc:sldMk cId="619132973" sldId="285"/>
            <ac:picMk id="8" creationId="{AC916BC7-3BA7-4020-BF81-C9660EC9819B}"/>
          </ac:picMkLst>
        </pc:picChg>
        <pc:picChg chg="mod">
          <ac:chgData name="Pol Cunyat Llorens" userId="7d9d6803-1d02-4a93-b87d-f75ca3a15424" providerId="ADAL" clId="{709353A2-C05E-42B3-B188-F2AE32CC2A1F}" dt="2022-11-24T08:36:20.760" v="1216"/>
          <ac:picMkLst>
            <pc:docMk/>
            <pc:sldMk cId="619132973" sldId="285"/>
            <ac:picMk id="11" creationId="{0AB200CA-CE30-4D51-838E-A7E17F7952AA}"/>
          </ac:picMkLst>
        </pc:picChg>
        <pc:picChg chg="mod">
          <ac:chgData name="Pol Cunyat Llorens" userId="7d9d6803-1d02-4a93-b87d-f75ca3a15424" providerId="ADAL" clId="{709353A2-C05E-42B3-B188-F2AE32CC2A1F}" dt="2022-11-24T08:36:20.760" v="1216"/>
          <ac:picMkLst>
            <pc:docMk/>
            <pc:sldMk cId="619132973" sldId="285"/>
            <ac:picMk id="1026" creationId="{A7FCC856-DCAB-47D8-8A58-F19BF49CAA69}"/>
          </ac:picMkLst>
        </pc:picChg>
      </pc:sldChg>
      <pc:sldChg chg="addSp modSp add mod">
        <pc:chgData name="Pol Cunyat Llorens" userId="7d9d6803-1d02-4a93-b87d-f75ca3a15424" providerId="ADAL" clId="{709353A2-C05E-42B3-B188-F2AE32CC2A1F}" dt="2022-11-24T09:14:47.196" v="2538" actId="14100"/>
        <pc:sldMkLst>
          <pc:docMk/>
          <pc:sldMk cId="346834173" sldId="286"/>
        </pc:sldMkLst>
        <pc:spChg chg="mod ord">
          <ac:chgData name="Pol Cunyat Llorens" userId="7d9d6803-1d02-4a93-b87d-f75ca3a15424" providerId="ADAL" clId="{709353A2-C05E-42B3-B188-F2AE32CC2A1F}" dt="2022-11-24T08:38:25.297" v="1346"/>
          <ac:spMkLst>
            <pc:docMk/>
            <pc:sldMk cId="346834173" sldId="286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709353A2-C05E-42B3-B188-F2AE32CC2A1F}" dt="2022-11-24T08:38:25.298" v="1354"/>
          <ac:spMkLst>
            <pc:docMk/>
            <pc:sldMk cId="346834173" sldId="286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709353A2-C05E-42B3-B188-F2AE32CC2A1F}" dt="2022-11-24T08:38:25.299" v="1368"/>
          <ac:spMkLst>
            <pc:docMk/>
            <pc:sldMk cId="346834173" sldId="286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709353A2-C05E-42B3-B188-F2AE32CC2A1F}" dt="2022-11-24T08:38:25.296" v="1344"/>
          <ac:spMkLst>
            <pc:docMk/>
            <pc:sldMk cId="346834173" sldId="286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709353A2-C05E-42B3-B188-F2AE32CC2A1F}" dt="2022-11-24T08:38:25.297" v="1348"/>
          <ac:spMkLst>
            <pc:docMk/>
            <pc:sldMk cId="346834173" sldId="286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709353A2-C05E-42B3-B188-F2AE32CC2A1F}" dt="2022-11-24T08:38:25.297" v="1350"/>
          <ac:spMkLst>
            <pc:docMk/>
            <pc:sldMk cId="346834173" sldId="286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709353A2-C05E-42B3-B188-F2AE32CC2A1F}" dt="2022-11-24T08:38:25.298" v="1352"/>
          <ac:spMkLst>
            <pc:docMk/>
            <pc:sldMk cId="346834173" sldId="286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709353A2-C05E-42B3-B188-F2AE32CC2A1F}" dt="2022-11-24T08:38:25.298" v="1356"/>
          <ac:spMkLst>
            <pc:docMk/>
            <pc:sldMk cId="346834173" sldId="286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709353A2-C05E-42B3-B188-F2AE32CC2A1F}" dt="2022-11-24T08:38:25.298" v="1358"/>
          <ac:spMkLst>
            <pc:docMk/>
            <pc:sldMk cId="346834173" sldId="286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709353A2-C05E-42B3-B188-F2AE32CC2A1F}" dt="2022-11-24T08:38:25.298" v="1360"/>
          <ac:spMkLst>
            <pc:docMk/>
            <pc:sldMk cId="346834173" sldId="286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709353A2-C05E-42B3-B188-F2AE32CC2A1F}" dt="2022-11-24T09:14:44.911" v="2537" actId="20577"/>
          <ac:spMkLst>
            <pc:docMk/>
            <pc:sldMk cId="346834173" sldId="286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709353A2-C05E-42B3-B188-F2AE32CC2A1F}" dt="2022-11-24T08:38:25.299" v="1364"/>
          <ac:spMkLst>
            <pc:docMk/>
            <pc:sldMk cId="346834173" sldId="286"/>
            <ac:spMk id="15" creationId="{F9242B69-1198-4D48-9F56-29D195B89A0E}"/>
          </ac:spMkLst>
        </pc:spChg>
        <pc:spChg chg="add mod ord">
          <ac:chgData name="Pol Cunyat Llorens" userId="7d9d6803-1d02-4a93-b87d-f75ca3a15424" providerId="ADAL" clId="{709353A2-C05E-42B3-B188-F2AE32CC2A1F}" dt="2022-11-24T09:14:47.196" v="2538" actId="14100"/>
          <ac:spMkLst>
            <pc:docMk/>
            <pc:sldMk cId="346834173" sldId="286"/>
            <ac:spMk id="16" creationId="{F8A91F64-1D74-4207-900F-40144A8806E2}"/>
          </ac:spMkLst>
        </pc:spChg>
        <pc:grpChg chg="mod">
          <ac:chgData name="Pol Cunyat Llorens" userId="7d9d6803-1d02-4a93-b87d-f75ca3a15424" providerId="ADAL" clId="{709353A2-C05E-42B3-B188-F2AE32CC2A1F}" dt="2022-11-24T08:38:08.358" v="1293"/>
          <ac:grpSpMkLst>
            <pc:docMk/>
            <pc:sldMk cId="346834173" sldId="286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8:25.301" v="1372"/>
          <ac:graphicFrameMkLst>
            <pc:docMk/>
            <pc:sldMk cId="346834173" sldId="286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709353A2-C05E-42B3-B188-F2AE32CC2A1F}" dt="2022-11-24T08:38:25.300" v="1370"/>
          <ac:picMkLst>
            <pc:docMk/>
            <pc:sldMk cId="346834173" sldId="286"/>
            <ac:picMk id="17" creationId="{50EC3490-CAB4-4915-A5ED-1A0570DC5F3F}"/>
          </ac:picMkLst>
        </pc:picChg>
      </pc:sldChg>
      <pc:sldChg chg="addSp modSp add mod ord">
        <pc:chgData name="Pol Cunyat Llorens" userId="7d9d6803-1d02-4a93-b87d-f75ca3a15424" providerId="ADAL" clId="{709353A2-C05E-42B3-B188-F2AE32CC2A1F}" dt="2022-11-24T14:29:28.561" v="4242" actId="1076"/>
        <pc:sldMkLst>
          <pc:docMk/>
          <pc:sldMk cId="965789740" sldId="287"/>
        </pc:sldMkLst>
        <pc:spChg chg="mod ord">
          <ac:chgData name="Pol Cunyat Llorens" userId="7d9d6803-1d02-4a93-b87d-f75ca3a15424" providerId="ADAL" clId="{709353A2-C05E-42B3-B188-F2AE32CC2A1F}" dt="2022-11-24T08:38:50.057" v="1385"/>
          <ac:spMkLst>
            <pc:docMk/>
            <pc:sldMk cId="965789740" sldId="287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709353A2-C05E-42B3-B188-F2AE32CC2A1F}" dt="2022-11-24T08:38:50.058" v="1393"/>
          <ac:spMkLst>
            <pc:docMk/>
            <pc:sldMk cId="965789740" sldId="287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709353A2-C05E-42B3-B188-F2AE32CC2A1F}" dt="2022-11-24T08:38:50.060" v="1409"/>
          <ac:spMkLst>
            <pc:docMk/>
            <pc:sldMk cId="965789740" sldId="287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709353A2-C05E-42B3-B188-F2AE32CC2A1F}" dt="2022-11-24T14:29:28.561" v="4242" actId="1076"/>
          <ac:spMkLst>
            <pc:docMk/>
            <pc:sldMk cId="965789740" sldId="287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709353A2-C05E-42B3-B188-F2AE32CC2A1F}" dt="2022-11-24T14:29:28.330" v="4241" actId="20577"/>
          <ac:spMkLst>
            <pc:docMk/>
            <pc:sldMk cId="965789740" sldId="287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709353A2-C05E-42B3-B188-F2AE32CC2A1F}" dt="2022-11-24T08:38:50.058" v="1389"/>
          <ac:spMkLst>
            <pc:docMk/>
            <pc:sldMk cId="965789740" sldId="287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709353A2-C05E-42B3-B188-F2AE32CC2A1F}" dt="2022-11-24T08:38:50.058" v="1391"/>
          <ac:spMkLst>
            <pc:docMk/>
            <pc:sldMk cId="965789740" sldId="287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709353A2-C05E-42B3-B188-F2AE32CC2A1F}" dt="2022-11-24T08:38:50.058" v="1395"/>
          <ac:spMkLst>
            <pc:docMk/>
            <pc:sldMk cId="965789740" sldId="287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709353A2-C05E-42B3-B188-F2AE32CC2A1F}" dt="2022-11-24T08:38:50.059" v="1397"/>
          <ac:spMkLst>
            <pc:docMk/>
            <pc:sldMk cId="965789740" sldId="287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709353A2-C05E-42B3-B188-F2AE32CC2A1F}" dt="2022-11-24T08:38:50.059" v="1399"/>
          <ac:spMkLst>
            <pc:docMk/>
            <pc:sldMk cId="965789740" sldId="287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709353A2-C05E-42B3-B188-F2AE32CC2A1F}" dt="2022-11-24T09:14:31.324" v="2519" actId="20577"/>
          <ac:spMkLst>
            <pc:docMk/>
            <pc:sldMk cId="965789740" sldId="287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709353A2-C05E-42B3-B188-F2AE32CC2A1F}" dt="2022-11-24T08:38:50.059" v="1403"/>
          <ac:spMkLst>
            <pc:docMk/>
            <pc:sldMk cId="965789740" sldId="287"/>
            <ac:spMk id="15" creationId="{F9242B69-1198-4D48-9F56-29D195B89A0E}"/>
          </ac:spMkLst>
        </pc:spChg>
        <pc:spChg chg="mod ord">
          <ac:chgData name="Pol Cunyat Llorens" userId="7d9d6803-1d02-4a93-b87d-f75ca3a15424" providerId="ADAL" clId="{709353A2-C05E-42B3-B188-F2AE32CC2A1F}" dt="2022-11-24T09:14:33.778" v="2520" actId="14100"/>
          <ac:spMkLst>
            <pc:docMk/>
            <pc:sldMk cId="965789740" sldId="287"/>
            <ac:spMk id="16" creationId="{F8A91F64-1D74-4207-900F-40144A8806E2}"/>
          </ac:spMkLst>
        </pc:spChg>
        <pc:spChg chg="add mod ord">
          <ac:chgData name="Pol Cunyat Llorens" userId="7d9d6803-1d02-4a93-b87d-f75ca3a15424" providerId="ADAL" clId="{709353A2-C05E-42B3-B188-F2AE32CC2A1F}" dt="2022-11-24T08:38:50.060" v="1407"/>
          <ac:spMkLst>
            <pc:docMk/>
            <pc:sldMk cId="965789740" sldId="287"/>
            <ac:spMk id="18" creationId="{C4F5AF56-3DE5-4C9A-96E5-C2F9E58BD3CB}"/>
          </ac:spMkLst>
        </pc:spChg>
        <pc:grpChg chg="mod">
          <ac:chgData name="Pol Cunyat Llorens" userId="7d9d6803-1d02-4a93-b87d-f75ca3a15424" providerId="ADAL" clId="{709353A2-C05E-42B3-B188-F2AE32CC2A1F}" dt="2022-11-24T08:38:36.303" v="1375"/>
          <ac:grpSpMkLst>
            <pc:docMk/>
            <pc:sldMk cId="965789740" sldId="287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8:50.062" v="1413"/>
          <ac:graphicFrameMkLst>
            <pc:docMk/>
            <pc:sldMk cId="965789740" sldId="287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709353A2-C05E-42B3-B188-F2AE32CC2A1F}" dt="2022-11-24T08:38:50.060" v="1411"/>
          <ac:picMkLst>
            <pc:docMk/>
            <pc:sldMk cId="965789740" sldId="287"/>
            <ac:picMk id="17" creationId="{50EC3490-CAB4-4915-A5ED-1A0570DC5F3F}"/>
          </ac:picMkLst>
        </pc:picChg>
      </pc:sldChg>
      <pc:sldChg chg="modSp add mod ord">
        <pc:chgData name="Pol Cunyat Llorens" userId="7d9d6803-1d02-4a93-b87d-f75ca3a15424" providerId="ADAL" clId="{709353A2-C05E-42B3-B188-F2AE32CC2A1F}" dt="2022-11-24T09:14:23.987" v="2505" actId="14100"/>
        <pc:sldMkLst>
          <pc:docMk/>
          <pc:sldMk cId="3724165431" sldId="288"/>
        </pc:sldMkLst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2" creationId="{BF9625A9-3881-40EF-9963-87439A3E152D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3" creationId="{B3498ED1-1AF4-44F8-9B31-57A988170717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4" creationId="{BBC82C2D-E41F-49E2-8007-44644A91969C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8" creationId="{EB0ED3C1-CE79-4BA7-901A-8FCA9F5CF627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9" creationId="{A1ECF1AE-AD9F-490F-A87F-41E553B2D773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0" creationId="{CC06FDDC-3AFE-46BB-A11E-D5052C877A2C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1" creationId="{218831C7-EAF4-4F7F-A0A3-6F11C779C467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2" creationId="{BD23D77A-C2C4-4908-BF83-C34AF3DF6629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3" creationId="{1663EC59-A97D-48AB-95CA-489B05B19A6C}"/>
          </ac:spMkLst>
        </pc:spChg>
        <pc:spChg chg="mod">
          <ac:chgData name="Pol Cunyat Llorens" userId="7d9d6803-1d02-4a93-b87d-f75ca3a15424" providerId="ADAL" clId="{709353A2-C05E-42B3-B188-F2AE32CC2A1F}" dt="2022-11-24T09:14:21.492" v="2504" actId="20577"/>
          <ac:spMkLst>
            <pc:docMk/>
            <pc:sldMk cId="3724165431" sldId="288"/>
            <ac:spMk id="14" creationId="{C3F2BC44-DC60-40F0-B9CC-158F91A88998}"/>
          </ac:spMkLst>
        </pc:spChg>
        <pc:spChg chg="mod">
          <ac:chgData name="Pol Cunyat Llorens" userId="7d9d6803-1d02-4a93-b87d-f75ca3a15424" providerId="ADAL" clId="{709353A2-C05E-42B3-B188-F2AE32CC2A1F}" dt="2022-11-24T08:38:58.050" v="1417"/>
          <ac:spMkLst>
            <pc:docMk/>
            <pc:sldMk cId="3724165431" sldId="288"/>
            <ac:spMk id="15" creationId="{F9242B69-1198-4D48-9F56-29D195B89A0E}"/>
          </ac:spMkLst>
        </pc:spChg>
        <pc:spChg chg="mod">
          <ac:chgData name="Pol Cunyat Llorens" userId="7d9d6803-1d02-4a93-b87d-f75ca3a15424" providerId="ADAL" clId="{709353A2-C05E-42B3-B188-F2AE32CC2A1F}" dt="2022-11-24T09:14:23.987" v="2505" actId="14100"/>
          <ac:spMkLst>
            <pc:docMk/>
            <pc:sldMk cId="3724165431" sldId="288"/>
            <ac:spMk id="16" creationId="{F8A91F64-1D74-4207-900F-40144A8806E2}"/>
          </ac:spMkLst>
        </pc:spChg>
        <pc:spChg chg="mod">
          <ac:chgData name="Pol Cunyat Llorens" userId="7d9d6803-1d02-4a93-b87d-f75ca3a15424" providerId="ADAL" clId="{709353A2-C05E-42B3-B188-F2AE32CC2A1F}" dt="2022-11-24T08:39:02.802" v="1420" actId="14100"/>
          <ac:spMkLst>
            <pc:docMk/>
            <pc:sldMk cId="3724165431" sldId="288"/>
            <ac:spMk id="18" creationId="{C4F5AF56-3DE5-4C9A-96E5-C2F9E58BD3CB}"/>
          </ac:spMkLst>
        </pc:spChg>
        <pc:grpChg chg="mod">
          <ac:chgData name="Pol Cunyat Llorens" userId="7d9d6803-1d02-4a93-b87d-f75ca3a15424" providerId="ADAL" clId="{709353A2-C05E-42B3-B188-F2AE32CC2A1F}" dt="2022-11-24T08:38:58.050" v="1417"/>
          <ac:grpSpMkLst>
            <pc:docMk/>
            <pc:sldMk cId="3724165431" sldId="288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8:58.050" v="1417"/>
          <ac:graphicFrameMkLst>
            <pc:docMk/>
            <pc:sldMk cId="3724165431" sldId="288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38:58.050" v="1417"/>
          <ac:picMkLst>
            <pc:docMk/>
            <pc:sldMk cId="3724165431" sldId="288"/>
            <ac:picMk id="17" creationId="{50EC3490-CAB4-4915-A5ED-1A0570DC5F3F}"/>
          </ac:picMkLst>
        </pc:picChg>
      </pc:sldChg>
      <pc:sldChg chg="modSp add mod ord">
        <pc:chgData name="Pol Cunyat Llorens" userId="7d9d6803-1d02-4a93-b87d-f75ca3a15424" providerId="ADAL" clId="{709353A2-C05E-42B3-B188-F2AE32CC2A1F}" dt="2022-11-24T09:14:12.540" v="2490" actId="14100"/>
        <pc:sldMkLst>
          <pc:docMk/>
          <pc:sldMk cId="1565724290" sldId="289"/>
        </pc:sldMkLst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2" creationId="{BF9625A9-3881-40EF-9963-87439A3E152D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3" creationId="{B3498ED1-1AF4-44F8-9B31-57A988170717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4" creationId="{BBC82C2D-E41F-49E2-8007-44644A91969C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8" creationId="{EB0ED3C1-CE79-4BA7-901A-8FCA9F5CF627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9" creationId="{A1ECF1AE-AD9F-490F-A87F-41E553B2D773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0" creationId="{CC06FDDC-3AFE-46BB-A11E-D5052C877A2C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1" creationId="{218831C7-EAF4-4F7F-A0A3-6F11C779C467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2" creationId="{BD23D77A-C2C4-4908-BF83-C34AF3DF6629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3" creationId="{1663EC59-A97D-48AB-95CA-489B05B19A6C}"/>
          </ac:spMkLst>
        </pc:spChg>
        <pc:spChg chg="mod">
          <ac:chgData name="Pol Cunyat Llorens" userId="7d9d6803-1d02-4a93-b87d-f75ca3a15424" providerId="ADAL" clId="{709353A2-C05E-42B3-B188-F2AE32CC2A1F}" dt="2022-11-24T09:14:09.301" v="2489" actId="20577"/>
          <ac:spMkLst>
            <pc:docMk/>
            <pc:sldMk cId="1565724290" sldId="289"/>
            <ac:spMk id="14" creationId="{C3F2BC44-DC60-40F0-B9CC-158F91A88998}"/>
          </ac:spMkLst>
        </pc:spChg>
        <pc:spChg chg="mod">
          <ac:chgData name="Pol Cunyat Llorens" userId="7d9d6803-1d02-4a93-b87d-f75ca3a15424" providerId="ADAL" clId="{709353A2-C05E-42B3-B188-F2AE32CC2A1F}" dt="2022-11-24T08:39:12.265" v="1424"/>
          <ac:spMkLst>
            <pc:docMk/>
            <pc:sldMk cId="1565724290" sldId="289"/>
            <ac:spMk id="15" creationId="{F9242B69-1198-4D48-9F56-29D195B89A0E}"/>
          </ac:spMkLst>
        </pc:spChg>
        <pc:spChg chg="mod">
          <ac:chgData name="Pol Cunyat Llorens" userId="7d9d6803-1d02-4a93-b87d-f75ca3a15424" providerId="ADAL" clId="{709353A2-C05E-42B3-B188-F2AE32CC2A1F}" dt="2022-11-24T09:14:12.540" v="2490" actId="14100"/>
          <ac:spMkLst>
            <pc:docMk/>
            <pc:sldMk cId="1565724290" sldId="289"/>
            <ac:spMk id="16" creationId="{F8A91F64-1D74-4207-900F-40144A8806E2}"/>
          </ac:spMkLst>
        </pc:spChg>
        <pc:spChg chg="mod">
          <ac:chgData name="Pol Cunyat Llorens" userId="7d9d6803-1d02-4a93-b87d-f75ca3a15424" providerId="ADAL" clId="{709353A2-C05E-42B3-B188-F2AE32CC2A1F}" dt="2022-11-24T08:39:23.826" v="1430" actId="14100"/>
          <ac:spMkLst>
            <pc:docMk/>
            <pc:sldMk cId="1565724290" sldId="289"/>
            <ac:spMk id="18" creationId="{C4F5AF56-3DE5-4C9A-96E5-C2F9E58BD3CB}"/>
          </ac:spMkLst>
        </pc:spChg>
        <pc:grpChg chg="mod">
          <ac:chgData name="Pol Cunyat Llorens" userId="7d9d6803-1d02-4a93-b87d-f75ca3a15424" providerId="ADAL" clId="{709353A2-C05E-42B3-B188-F2AE32CC2A1F}" dt="2022-11-24T08:39:12.265" v="1424"/>
          <ac:grpSpMkLst>
            <pc:docMk/>
            <pc:sldMk cId="1565724290" sldId="28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9:12.265" v="1424"/>
          <ac:graphicFrameMkLst>
            <pc:docMk/>
            <pc:sldMk cId="1565724290" sldId="289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39:12.265" v="1424"/>
          <ac:picMkLst>
            <pc:docMk/>
            <pc:sldMk cId="1565724290" sldId="289"/>
            <ac:picMk id="17" creationId="{50EC3490-CAB4-4915-A5ED-1A0570DC5F3F}"/>
          </ac:picMkLst>
        </pc:picChg>
      </pc:sldChg>
      <pc:sldChg chg="delSp modSp add mod ord">
        <pc:chgData name="Pol Cunyat Llorens" userId="7d9d6803-1d02-4a93-b87d-f75ca3a15424" providerId="ADAL" clId="{709353A2-C05E-42B3-B188-F2AE32CC2A1F}" dt="2022-11-24T09:13:56.965" v="2475" actId="20577"/>
        <pc:sldMkLst>
          <pc:docMk/>
          <pc:sldMk cId="272477014" sldId="290"/>
        </pc:sldMkLst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2" creationId="{BF9625A9-3881-40EF-9963-87439A3E152D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3" creationId="{B3498ED1-1AF4-44F8-9B31-57A988170717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4" creationId="{BBC82C2D-E41F-49E2-8007-44644A91969C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8" creationId="{EB0ED3C1-CE79-4BA7-901A-8FCA9F5CF627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9" creationId="{A1ECF1AE-AD9F-490F-A87F-41E553B2D773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0" creationId="{CC06FDDC-3AFE-46BB-A11E-D5052C877A2C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1" creationId="{218831C7-EAF4-4F7F-A0A3-6F11C779C467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2" creationId="{BD23D77A-C2C4-4908-BF83-C34AF3DF6629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3" creationId="{1663EC59-A97D-48AB-95CA-489B05B19A6C}"/>
          </ac:spMkLst>
        </pc:spChg>
        <pc:spChg chg="mod">
          <ac:chgData name="Pol Cunyat Llorens" userId="7d9d6803-1d02-4a93-b87d-f75ca3a15424" providerId="ADAL" clId="{709353A2-C05E-42B3-B188-F2AE32CC2A1F}" dt="2022-11-24T09:13:56.965" v="2475" actId="20577"/>
          <ac:spMkLst>
            <pc:docMk/>
            <pc:sldMk cId="272477014" sldId="290"/>
            <ac:spMk id="14" creationId="{C3F2BC44-DC60-40F0-B9CC-158F91A88998}"/>
          </ac:spMkLst>
        </pc:spChg>
        <pc:spChg chg="mod">
          <ac:chgData name="Pol Cunyat Llorens" userId="7d9d6803-1d02-4a93-b87d-f75ca3a15424" providerId="ADAL" clId="{709353A2-C05E-42B3-B188-F2AE32CC2A1F}" dt="2022-11-24T08:39:27.079" v="1432"/>
          <ac:spMkLst>
            <pc:docMk/>
            <pc:sldMk cId="272477014" sldId="290"/>
            <ac:spMk id="15" creationId="{F9242B69-1198-4D48-9F56-29D195B89A0E}"/>
          </ac:spMkLst>
        </pc:spChg>
        <pc:spChg chg="del mod">
          <ac:chgData name="Pol Cunyat Llorens" userId="7d9d6803-1d02-4a93-b87d-f75ca3a15424" providerId="ADAL" clId="{709353A2-C05E-42B3-B188-F2AE32CC2A1F}" dt="2022-11-24T08:39:31.493" v="1435" actId="478"/>
          <ac:spMkLst>
            <pc:docMk/>
            <pc:sldMk cId="272477014" sldId="290"/>
            <ac:spMk id="16" creationId="{F8A91F64-1D74-4207-900F-40144A8806E2}"/>
          </ac:spMkLst>
        </pc:spChg>
        <pc:spChg chg="mod">
          <ac:chgData name="Pol Cunyat Llorens" userId="7d9d6803-1d02-4a93-b87d-f75ca3a15424" providerId="ADAL" clId="{709353A2-C05E-42B3-B188-F2AE32CC2A1F}" dt="2022-11-24T08:39:33.651" v="1436" actId="14100"/>
          <ac:spMkLst>
            <pc:docMk/>
            <pc:sldMk cId="272477014" sldId="290"/>
            <ac:spMk id="18" creationId="{C4F5AF56-3DE5-4C9A-96E5-C2F9E58BD3CB}"/>
          </ac:spMkLst>
        </pc:spChg>
        <pc:grpChg chg="mod">
          <ac:chgData name="Pol Cunyat Llorens" userId="7d9d6803-1d02-4a93-b87d-f75ca3a15424" providerId="ADAL" clId="{709353A2-C05E-42B3-B188-F2AE32CC2A1F}" dt="2022-11-24T08:39:27.079" v="1432"/>
          <ac:grpSpMkLst>
            <pc:docMk/>
            <pc:sldMk cId="272477014" sldId="29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39:27.079" v="1432"/>
          <ac:graphicFrameMkLst>
            <pc:docMk/>
            <pc:sldMk cId="272477014" sldId="290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39:27.079" v="1432"/>
          <ac:picMkLst>
            <pc:docMk/>
            <pc:sldMk cId="272477014" sldId="290"/>
            <ac:picMk id="17" creationId="{50EC3490-CAB4-4915-A5ED-1A0570DC5F3F}"/>
          </ac:picMkLst>
        </pc:picChg>
      </pc:sldChg>
      <pc:sldChg chg="modSp add del">
        <pc:chgData name="Pol Cunyat Llorens" userId="7d9d6803-1d02-4a93-b87d-f75ca3a15424" providerId="ADAL" clId="{709353A2-C05E-42B3-B188-F2AE32CC2A1F}" dt="2022-11-24T08:59:38.969" v="1888" actId="47"/>
        <pc:sldMkLst>
          <pc:docMk/>
          <pc:sldMk cId="3504759446" sldId="291"/>
        </pc:sldMkLst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13" creationId="{34C4E708-C099-4A03-BD6D-DFBE19D563FF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14" creationId="{7353343D-BB8C-4168-B7F3-40E63E30CC81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19" creationId="{2AF7FC5E-8BB4-48FD-956A-80740C139796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2" creationId="{DDA9D66D-6D7F-4AC1-840E-22E406E26232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6" creationId="{D49A6FE4-3D64-4A23-9AFD-14234C363278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7" creationId="{A5F27214-BB0D-47D6-8D5D-B348BB804428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8" creationId="{4F64CF48-5019-4033-ACB7-5CC402FDAE1F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29" creationId="{0658FA13-7837-45DE-8879-E117FAA7E856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30" creationId="{CD64F71D-D996-42DE-AEB1-9D0A121AA5A4}"/>
          </ac:spMkLst>
        </pc:spChg>
        <pc:spChg chg="mod">
          <ac:chgData name="Pol Cunyat Llorens" userId="7d9d6803-1d02-4a93-b87d-f75ca3a15424" providerId="ADAL" clId="{709353A2-C05E-42B3-B188-F2AE32CC2A1F}" dt="2022-11-24T08:43:53.699" v="1448"/>
          <ac:spMkLst>
            <pc:docMk/>
            <pc:sldMk cId="3504759446" sldId="291"/>
            <ac:spMk id="31" creationId="{A085C923-6248-4FD5-9295-1A3DBF3A1F92}"/>
          </ac:spMkLst>
        </pc:spChg>
        <pc:grpChg chg="mod">
          <ac:chgData name="Pol Cunyat Llorens" userId="7d9d6803-1d02-4a93-b87d-f75ca3a15424" providerId="ADAL" clId="{709353A2-C05E-42B3-B188-F2AE32CC2A1F}" dt="2022-11-24T08:43:53.699" v="1448"/>
          <ac:grpSpMkLst>
            <pc:docMk/>
            <pc:sldMk cId="3504759446" sldId="291"/>
            <ac:grpSpMk id="1" creationId="{00000000-0000-0000-0000-000000000000}"/>
          </ac:grpSpMkLst>
        </pc:grpChg>
        <pc:grpChg chg="mod">
          <ac:chgData name="Pol Cunyat Llorens" userId="7d9d6803-1d02-4a93-b87d-f75ca3a15424" providerId="ADAL" clId="{709353A2-C05E-42B3-B188-F2AE32CC2A1F}" dt="2022-11-24T08:43:53.699" v="1448"/>
          <ac:grpSpMkLst>
            <pc:docMk/>
            <pc:sldMk cId="3504759446" sldId="291"/>
            <ac:grpSpMk id="18" creationId="{CD08297B-3B2B-46B1-B5DA-BDA72AC241B1}"/>
          </ac:grpSpMkLst>
        </pc:grpChg>
        <pc:graphicFrameChg chg="mod">
          <ac:chgData name="Pol Cunyat Llorens" userId="7d9d6803-1d02-4a93-b87d-f75ca3a15424" providerId="ADAL" clId="{709353A2-C05E-42B3-B188-F2AE32CC2A1F}" dt="2022-11-24T08:43:53.699" v="1448"/>
          <ac:graphicFrameMkLst>
            <pc:docMk/>
            <pc:sldMk cId="3504759446" sldId="291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0" creationId="{C306C463-52CE-460F-ABCF-131FD57A3D4A}"/>
          </ac:picMkLst>
        </pc:pic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1" creationId="{158B97D8-8F02-4233-BACE-4A9820DF0C7E}"/>
          </ac:picMkLst>
        </pc:pic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3" creationId="{B1EB42D6-CFCF-4217-8D3E-93B3D8B7D7FF}"/>
          </ac:picMkLst>
        </pc:pic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4" creationId="{970C7D40-0C90-49C6-AE73-C9DB6D8807E2}"/>
          </ac:picMkLst>
        </pc:picChg>
        <pc:picChg chg="mod">
          <ac:chgData name="Pol Cunyat Llorens" userId="7d9d6803-1d02-4a93-b87d-f75ca3a15424" providerId="ADAL" clId="{709353A2-C05E-42B3-B188-F2AE32CC2A1F}" dt="2022-11-24T08:43:53.699" v="1448"/>
          <ac:picMkLst>
            <pc:docMk/>
            <pc:sldMk cId="3504759446" sldId="291"/>
            <ac:picMk id="25" creationId="{88BFF489-26D0-4139-9493-1970AE5A325E}"/>
          </ac:picMkLst>
        </pc:picChg>
      </pc:sldChg>
      <pc:sldChg chg="addSp delSp modSp add mod">
        <pc:chgData name="Pol Cunyat Llorens" userId="7d9d6803-1d02-4a93-b87d-f75ca3a15424" providerId="ADAL" clId="{709353A2-C05E-42B3-B188-F2AE32CC2A1F}" dt="2022-11-24T12:02:37.289" v="3831" actId="20577"/>
        <pc:sldMkLst>
          <pc:docMk/>
          <pc:sldMk cId="2733567833" sldId="292"/>
        </pc:sldMkLst>
        <pc:spChg chg="mod ord">
          <ac:chgData name="Pol Cunyat Llorens" userId="7d9d6803-1d02-4a93-b87d-f75ca3a15424" providerId="ADAL" clId="{709353A2-C05E-42B3-B188-F2AE32CC2A1F}" dt="2022-11-24T12:02:37.289" v="3831" actId="20577"/>
          <ac:spMkLst>
            <pc:docMk/>
            <pc:sldMk cId="2733567833" sldId="292"/>
            <ac:spMk id="5" creationId="{CFD70945-C5A1-42DE-AB29-2B84D5CB0D72}"/>
          </ac:spMkLst>
        </pc:spChg>
        <pc:spChg chg="add mod">
          <ac:chgData name="Pol Cunyat Llorens" userId="7d9d6803-1d02-4a93-b87d-f75ca3a15424" providerId="ADAL" clId="{709353A2-C05E-42B3-B188-F2AE32CC2A1F}" dt="2022-11-24T08:54:07.643" v="1678" actId="1076"/>
          <ac:spMkLst>
            <pc:docMk/>
            <pc:sldMk cId="2733567833" sldId="292"/>
            <ac:spMk id="12" creationId="{ECD226D3-6AF9-46EE-894B-37174CE04593}"/>
          </ac:spMkLst>
        </pc:spChg>
        <pc:spChg chg="mod ord">
          <ac:chgData name="Pol Cunyat Llorens" userId="7d9d6803-1d02-4a93-b87d-f75ca3a15424" providerId="ADAL" clId="{709353A2-C05E-42B3-B188-F2AE32CC2A1F}" dt="2022-11-24T08:52:32.515" v="1611" actId="12789"/>
          <ac:spMkLst>
            <pc:docMk/>
            <pc:sldMk cId="2733567833" sldId="292"/>
            <ac:spMk id="13" creationId="{34C4E708-C099-4A03-BD6D-DFBE19D563FF}"/>
          </ac:spMkLst>
        </pc:spChg>
        <pc:spChg chg="mod ord">
          <ac:chgData name="Pol Cunyat Llorens" userId="7d9d6803-1d02-4a93-b87d-f75ca3a15424" providerId="ADAL" clId="{709353A2-C05E-42B3-B188-F2AE32CC2A1F}" dt="2022-11-24T08:52:32.515" v="1611" actId="12789"/>
          <ac:spMkLst>
            <pc:docMk/>
            <pc:sldMk cId="2733567833" sldId="292"/>
            <ac:spMk id="14" creationId="{7353343D-BB8C-4168-B7F3-40E63E30CC81}"/>
          </ac:spMkLst>
        </pc:spChg>
        <pc:spChg chg="add mod">
          <ac:chgData name="Pol Cunyat Llorens" userId="7d9d6803-1d02-4a93-b87d-f75ca3a15424" providerId="ADAL" clId="{709353A2-C05E-42B3-B188-F2AE32CC2A1F}" dt="2022-11-24T08:53:33.931" v="1639" actId="12789"/>
          <ac:spMkLst>
            <pc:docMk/>
            <pc:sldMk cId="2733567833" sldId="292"/>
            <ac:spMk id="16" creationId="{6BCE1F76-19BA-464A-ADE8-7D38472BA5B1}"/>
          </ac:spMkLst>
        </pc:spChg>
        <pc:spChg chg="add mod">
          <ac:chgData name="Pol Cunyat Llorens" userId="7d9d6803-1d02-4a93-b87d-f75ca3a15424" providerId="ADAL" clId="{709353A2-C05E-42B3-B188-F2AE32CC2A1F}" dt="2022-11-24T09:06:43.078" v="2424" actId="207"/>
          <ac:spMkLst>
            <pc:docMk/>
            <pc:sldMk cId="2733567833" sldId="292"/>
            <ac:spMk id="17" creationId="{DFED7147-CED5-4201-898C-BCAFF939A35E}"/>
          </ac:spMkLst>
        </pc:spChg>
        <pc:spChg chg="add mod">
          <ac:chgData name="Pol Cunyat Llorens" userId="7d9d6803-1d02-4a93-b87d-f75ca3a15424" providerId="ADAL" clId="{709353A2-C05E-42B3-B188-F2AE32CC2A1F}" dt="2022-11-24T08:54:02.202" v="1675"/>
          <ac:spMkLst>
            <pc:docMk/>
            <pc:sldMk cId="2733567833" sldId="292"/>
            <ac:spMk id="18" creationId="{660CCBE2-BCD4-460B-AA7C-F35A4DC59EA4}"/>
          </ac:spMkLst>
        </pc:spChg>
        <pc:spChg chg="add mod">
          <ac:chgData name="Pol Cunyat Llorens" userId="7d9d6803-1d02-4a93-b87d-f75ca3a15424" providerId="ADAL" clId="{709353A2-C05E-42B3-B188-F2AE32CC2A1F}" dt="2022-11-24T09:06:20.550" v="2416" actId="207"/>
          <ac:spMkLst>
            <pc:docMk/>
            <pc:sldMk cId="2733567833" sldId="292"/>
            <ac:spMk id="19" creationId="{B14D1442-C30C-4F6B-BFB5-59AE9534B1EB}"/>
          </ac:spMkLst>
        </pc:spChg>
        <pc:spChg chg="add del mod ord">
          <ac:chgData name="Pol Cunyat Llorens" userId="7d9d6803-1d02-4a93-b87d-f75ca3a15424" providerId="ADAL" clId="{709353A2-C05E-42B3-B188-F2AE32CC2A1F}" dt="2022-11-24T08:54:43.723" v="1686" actId="478"/>
          <ac:spMkLst>
            <pc:docMk/>
            <pc:sldMk cId="2733567833" sldId="292"/>
            <ac:spMk id="35" creationId="{7451CB25-9EFC-489A-9907-D390AF13B69E}"/>
          </ac:spMkLst>
        </pc:spChg>
        <pc:spChg chg="mod ord">
          <ac:chgData name="Pol Cunyat Llorens" userId="7d9d6803-1d02-4a93-b87d-f75ca3a15424" providerId="ADAL" clId="{709353A2-C05E-42B3-B188-F2AE32CC2A1F}" dt="2022-11-24T08:52:32.515" v="1611" actId="12789"/>
          <ac:spMkLst>
            <pc:docMk/>
            <pc:sldMk cId="2733567833" sldId="292"/>
            <ac:spMk id="36" creationId="{AA0E32AB-2513-44B8-A6A8-2251E4BEA658}"/>
          </ac:spMkLst>
        </pc:spChg>
        <pc:spChg chg="mod ord">
          <ac:chgData name="Pol Cunyat Llorens" userId="7d9d6803-1d02-4a93-b87d-f75ca3a15424" providerId="ADAL" clId="{709353A2-C05E-42B3-B188-F2AE32CC2A1F}" dt="2022-11-24T08:54:30.159" v="1682" actId="14100"/>
          <ac:spMkLst>
            <pc:docMk/>
            <pc:sldMk cId="2733567833" sldId="292"/>
            <ac:spMk id="37" creationId="{4BE04B33-899E-4898-814D-FB0C7076233C}"/>
          </ac:spMkLst>
        </pc:spChg>
        <pc:grpChg chg="mod">
          <ac:chgData name="Pol Cunyat Llorens" userId="7d9d6803-1d02-4a93-b87d-f75ca3a15424" providerId="ADAL" clId="{709353A2-C05E-42B3-B188-F2AE32CC2A1F}" dt="2022-11-24T08:50:53.819" v="1556"/>
          <ac:grpSpMkLst>
            <pc:docMk/>
            <pc:sldMk cId="2733567833" sldId="29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709353A2-C05E-42B3-B188-F2AE32CC2A1F}" dt="2022-11-24T08:51:08.649" v="1579"/>
          <ac:graphicFrameMkLst>
            <pc:docMk/>
            <pc:sldMk cId="2733567833" sldId="292"/>
            <ac:graphicFrameMk id="6" creationId="{3C4E2400-2539-4F37-8674-71CF91E3BB73}"/>
          </ac:graphicFrameMkLst>
        </pc:graphicFrameChg>
        <pc:picChg chg="add mod">
          <ac:chgData name="Pol Cunyat Llorens" userId="7d9d6803-1d02-4a93-b87d-f75ca3a15424" providerId="ADAL" clId="{709353A2-C05E-42B3-B188-F2AE32CC2A1F}" dt="2022-11-24T08:53:20.040" v="1636" actId="1076"/>
          <ac:picMkLst>
            <pc:docMk/>
            <pc:sldMk cId="2733567833" sldId="292"/>
            <ac:picMk id="15" creationId="{0549E6A2-0FDB-434F-B357-3937C34DD888}"/>
          </ac:picMkLst>
        </pc:picChg>
        <pc:picChg chg="mod ord">
          <ac:chgData name="Pol Cunyat Llorens" userId="7d9d6803-1d02-4a93-b87d-f75ca3a15424" providerId="ADAL" clId="{709353A2-C05E-42B3-B188-F2AE32CC2A1F}" dt="2022-11-24T08:52:32.515" v="1611" actId="12789"/>
          <ac:picMkLst>
            <pc:docMk/>
            <pc:sldMk cId="2733567833" sldId="292"/>
            <ac:picMk id="20" creationId="{C306C463-52CE-460F-ABCF-131FD57A3D4A}"/>
          </ac:picMkLst>
        </pc:picChg>
        <pc:picChg chg="mod ord">
          <ac:chgData name="Pol Cunyat Llorens" userId="7d9d6803-1d02-4a93-b87d-f75ca3a15424" providerId="ADAL" clId="{709353A2-C05E-42B3-B188-F2AE32CC2A1F}" dt="2022-11-24T08:53:00.123" v="1632" actId="1035"/>
          <ac:picMkLst>
            <pc:docMk/>
            <pc:sldMk cId="2733567833" sldId="292"/>
            <ac:picMk id="32" creationId="{942974F0-4F27-47D9-A735-38DFE3569E9A}"/>
          </ac:picMkLst>
        </pc:picChg>
        <pc:picChg chg="del mod ord">
          <ac:chgData name="Pol Cunyat Llorens" userId="7d9d6803-1d02-4a93-b87d-f75ca3a15424" providerId="ADAL" clId="{709353A2-C05E-42B3-B188-F2AE32CC2A1F}" dt="2022-11-24T08:54:46.186" v="1687" actId="478"/>
          <ac:picMkLst>
            <pc:docMk/>
            <pc:sldMk cId="2733567833" sldId="292"/>
            <ac:picMk id="33" creationId="{D244B7AB-FE6A-44AF-A0C3-778BAB28CEF0}"/>
          </ac:picMkLst>
        </pc:picChg>
      </pc:sldChg>
      <pc:sldChg chg="addSp delSp modSp add del mod">
        <pc:chgData name="Pol Cunyat Llorens" userId="7d9d6803-1d02-4a93-b87d-f75ca3a15424" providerId="ADAL" clId="{709353A2-C05E-42B3-B188-F2AE32CC2A1F}" dt="2022-11-24T09:00:15.226" v="1890" actId="47"/>
        <pc:sldMkLst>
          <pc:docMk/>
          <pc:sldMk cId="2389422069" sldId="293"/>
        </pc:sldMkLst>
        <pc:spChg chg="mod">
          <ac:chgData name="Pol Cunyat Llorens" userId="7d9d6803-1d02-4a93-b87d-f75ca3a15424" providerId="ADAL" clId="{709353A2-C05E-42B3-B188-F2AE32CC2A1F}" dt="2022-11-24T08:55:03.695" v="1711"/>
          <ac:spMkLst>
            <pc:docMk/>
            <pc:sldMk cId="2389422069" sldId="293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56:46.692" v="1813" actId="12789"/>
          <ac:spMkLst>
            <pc:docMk/>
            <pc:sldMk cId="2389422069" sldId="293"/>
            <ac:spMk id="12" creationId="{ECD226D3-6AF9-46EE-894B-37174CE04593}"/>
          </ac:spMkLst>
        </pc:spChg>
        <pc:spChg chg="mod">
          <ac:chgData name="Pol Cunyat Llorens" userId="7d9d6803-1d02-4a93-b87d-f75ca3a15424" providerId="ADAL" clId="{709353A2-C05E-42B3-B188-F2AE32CC2A1F}" dt="2022-11-24T08:56:11.020" v="1807" actId="1037"/>
          <ac:spMkLst>
            <pc:docMk/>
            <pc:sldMk cId="2389422069" sldId="293"/>
            <ac:spMk id="13" creationId="{34C4E708-C099-4A03-BD6D-DFBE19D563FF}"/>
          </ac:spMkLst>
        </pc:spChg>
        <pc:spChg chg="mod">
          <ac:chgData name="Pol Cunyat Llorens" userId="7d9d6803-1d02-4a93-b87d-f75ca3a15424" providerId="ADAL" clId="{709353A2-C05E-42B3-B188-F2AE32CC2A1F}" dt="2022-11-24T08:56:11.020" v="1807" actId="1037"/>
          <ac:spMkLst>
            <pc:docMk/>
            <pc:sldMk cId="2389422069" sldId="293"/>
            <ac:spMk id="14" creationId="{7353343D-BB8C-4168-B7F3-40E63E30CC81}"/>
          </ac:spMkLst>
        </pc:spChg>
        <pc:spChg chg="del mod">
          <ac:chgData name="Pol Cunyat Llorens" userId="7d9d6803-1d02-4a93-b87d-f75ca3a15424" providerId="ADAL" clId="{709353A2-C05E-42B3-B188-F2AE32CC2A1F}" dt="2022-11-24T08:56:35.908" v="1811" actId="478"/>
          <ac:spMkLst>
            <pc:docMk/>
            <pc:sldMk cId="2389422069" sldId="293"/>
            <ac:spMk id="16" creationId="{6BCE1F76-19BA-464A-ADE8-7D38472BA5B1}"/>
          </ac:spMkLst>
        </pc:spChg>
        <pc:spChg chg="del mod">
          <ac:chgData name="Pol Cunyat Llorens" userId="7d9d6803-1d02-4a93-b87d-f75ca3a15424" providerId="ADAL" clId="{709353A2-C05E-42B3-B188-F2AE32CC2A1F}" dt="2022-11-24T08:56:35.908" v="1811" actId="478"/>
          <ac:spMkLst>
            <pc:docMk/>
            <pc:sldMk cId="2389422069" sldId="293"/>
            <ac:spMk id="17" creationId="{DFED7147-CED5-4201-898C-BCAFF939A35E}"/>
          </ac:spMkLst>
        </pc:spChg>
        <pc:spChg chg="del mod">
          <ac:chgData name="Pol Cunyat Llorens" userId="7d9d6803-1d02-4a93-b87d-f75ca3a15424" providerId="ADAL" clId="{709353A2-C05E-42B3-B188-F2AE32CC2A1F}" dt="2022-11-24T08:55:14.646" v="1714" actId="478"/>
          <ac:spMkLst>
            <pc:docMk/>
            <pc:sldMk cId="2389422069" sldId="293"/>
            <ac:spMk id="18" creationId="{660CCBE2-BCD4-460B-AA7C-F35A4DC59EA4}"/>
          </ac:spMkLst>
        </pc:spChg>
        <pc:spChg chg="del mod">
          <ac:chgData name="Pol Cunyat Llorens" userId="7d9d6803-1d02-4a93-b87d-f75ca3a15424" providerId="ADAL" clId="{709353A2-C05E-42B3-B188-F2AE32CC2A1F}" dt="2022-11-24T08:55:16.433" v="1715" actId="478"/>
          <ac:spMkLst>
            <pc:docMk/>
            <pc:sldMk cId="2389422069" sldId="293"/>
            <ac:spMk id="19" creationId="{B14D1442-C30C-4F6B-BFB5-59AE9534B1EB}"/>
          </ac:spMkLst>
        </pc:spChg>
        <pc:spChg chg="add mod">
          <ac:chgData name="Pol Cunyat Llorens" userId="7d9d6803-1d02-4a93-b87d-f75ca3a15424" providerId="ADAL" clId="{709353A2-C05E-42B3-B188-F2AE32CC2A1F}" dt="2022-11-24T08:56:46.692" v="1813" actId="12789"/>
          <ac:spMkLst>
            <pc:docMk/>
            <pc:sldMk cId="2389422069" sldId="293"/>
            <ac:spMk id="26" creationId="{58963752-8135-4C00-835D-C405611F4954}"/>
          </ac:spMkLst>
        </pc:spChg>
        <pc:spChg chg="add mod">
          <ac:chgData name="Pol Cunyat Llorens" userId="7d9d6803-1d02-4a93-b87d-f75ca3a15424" providerId="ADAL" clId="{709353A2-C05E-42B3-B188-F2AE32CC2A1F}" dt="2022-11-24T08:56:46.692" v="1813" actId="12789"/>
          <ac:spMkLst>
            <pc:docMk/>
            <pc:sldMk cId="2389422069" sldId="293"/>
            <ac:spMk id="27" creationId="{D61FE553-8E97-4DD7-9FA0-852678EB022E}"/>
          </ac:spMkLst>
        </pc:spChg>
        <pc:spChg chg="add mod">
          <ac:chgData name="Pol Cunyat Llorens" userId="7d9d6803-1d02-4a93-b87d-f75ca3a15424" providerId="ADAL" clId="{709353A2-C05E-42B3-B188-F2AE32CC2A1F}" dt="2022-11-24T08:57:03.439" v="1829" actId="1037"/>
          <ac:spMkLst>
            <pc:docMk/>
            <pc:sldMk cId="2389422069" sldId="293"/>
            <ac:spMk id="28" creationId="{3BB23D1E-E370-4E47-9E04-3BC6FF6D2662}"/>
          </ac:spMkLst>
        </pc:spChg>
        <pc:spChg chg="add mod">
          <ac:chgData name="Pol Cunyat Llorens" userId="7d9d6803-1d02-4a93-b87d-f75ca3a15424" providerId="ADAL" clId="{709353A2-C05E-42B3-B188-F2AE32CC2A1F}" dt="2022-11-24T08:57:03.439" v="1829" actId="1037"/>
          <ac:spMkLst>
            <pc:docMk/>
            <pc:sldMk cId="2389422069" sldId="293"/>
            <ac:spMk id="29" creationId="{46BCA5F5-005D-405F-AF0B-5904BB40889C}"/>
          </ac:spMkLst>
        </pc:spChg>
        <pc:spChg chg="add mod">
          <ac:chgData name="Pol Cunyat Llorens" userId="7d9d6803-1d02-4a93-b87d-f75ca3a15424" providerId="ADAL" clId="{709353A2-C05E-42B3-B188-F2AE32CC2A1F}" dt="2022-11-24T08:57:03.439" v="1829" actId="1037"/>
          <ac:spMkLst>
            <pc:docMk/>
            <pc:sldMk cId="2389422069" sldId="293"/>
            <ac:spMk id="30" creationId="{DA131A1E-6A55-4466-9572-272241FCC0C7}"/>
          </ac:spMkLst>
        </pc:spChg>
        <pc:spChg chg="add mod">
          <ac:chgData name="Pol Cunyat Llorens" userId="7d9d6803-1d02-4a93-b87d-f75ca3a15424" providerId="ADAL" clId="{709353A2-C05E-42B3-B188-F2AE32CC2A1F}" dt="2022-11-24T08:57:03.439" v="1829" actId="1037"/>
          <ac:spMkLst>
            <pc:docMk/>
            <pc:sldMk cId="2389422069" sldId="293"/>
            <ac:spMk id="31" creationId="{33666EB7-32AD-485B-A2C8-E4DCA709A1DE}"/>
          </ac:spMkLst>
        </pc:spChg>
        <pc:spChg chg="mod">
          <ac:chgData name="Pol Cunyat Llorens" userId="7d9d6803-1d02-4a93-b87d-f75ca3a15424" providerId="ADAL" clId="{709353A2-C05E-42B3-B188-F2AE32CC2A1F}" dt="2022-11-24T08:56:21.573" v="1809" actId="14100"/>
          <ac:spMkLst>
            <pc:docMk/>
            <pc:sldMk cId="2389422069" sldId="293"/>
            <ac:spMk id="36" creationId="{AA0E32AB-2513-44B8-A6A8-2251E4BEA658}"/>
          </ac:spMkLst>
        </pc:spChg>
        <pc:spChg chg="del mod">
          <ac:chgData name="Pol Cunyat Llorens" userId="7d9d6803-1d02-4a93-b87d-f75ca3a15424" providerId="ADAL" clId="{709353A2-C05E-42B3-B188-F2AE32CC2A1F}" dt="2022-11-24T08:55:28.618" v="1717" actId="478"/>
          <ac:spMkLst>
            <pc:docMk/>
            <pc:sldMk cId="2389422069" sldId="293"/>
            <ac:spMk id="37" creationId="{4BE04B33-899E-4898-814D-FB0C7076233C}"/>
          </ac:spMkLst>
        </pc:spChg>
        <pc:grpChg chg="mod">
          <ac:chgData name="Pol Cunyat Llorens" userId="7d9d6803-1d02-4a93-b87d-f75ca3a15424" providerId="ADAL" clId="{709353A2-C05E-42B3-B188-F2AE32CC2A1F}" dt="2022-11-24T08:55:03.695" v="1711"/>
          <ac:grpSpMkLst>
            <pc:docMk/>
            <pc:sldMk cId="2389422069" sldId="293"/>
            <ac:grpSpMk id="1" creationId="{00000000-0000-0000-0000-000000000000}"/>
          </ac:grpSpMkLst>
        </pc:grpChg>
        <pc:grpChg chg="add del mod">
          <ac:chgData name="Pol Cunyat Llorens" userId="7d9d6803-1d02-4a93-b87d-f75ca3a15424" providerId="ADAL" clId="{709353A2-C05E-42B3-B188-F2AE32CC2A1F}" dt="2022-11-24T08:56:58.006" v="1814" actId="165"/>
          <ac:grpSpMkLst>
            <pc:docMk/>
            <pc:sldMk cId="2389422069" sldId="293"/>
            <ac:grpSpMk id="22" creationId="{98F3BE32-3AA3-4D4A-BE9E-F218AD7D1BC2}"/>
          </ac:grpSpMkLst>
        </pc:grpChg>
        <pc:graphicFrameChg chg="mod">
          <ac:chgData name="Pol Cunyat Llorens" userId="7d9d6803-1d02-4a93-b87d-f75ca3a15424" providerId="ADAL" clId="{709353A2-C05E-42B3-B188-F2AE32CC2A1F}" dt="2022-11-24T08:55:03.695" v="1711"/>
          <ac:graphicFrameMkLst>
            <pc:docMk/>
            <pc:sldMk cId="2389422069" sldId="293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709353A2-C05E-42B3-B188-F2AE32CC2A1F}" dt="2022-11-24T08:56:35.908" v="1811" actId="478"/>
          <ac:picMkLst>
            <pc:docMk/>
            <pc:sldMk cId="2389422069" sldId="293"/>
            <ac:picMk id="15" creationId="{0549E6A2-0FDB-434F-B357-3937C34DD888}"/>
          </ac:picMkLst>
        </pc:picChg>
        <pc:picChg chg="del mod">
          <ac:chgData name="Pol Cunyat Llorens" userId="7d9d6803-1d02-4a93-b87d-f75ca3a15424" providerId="ADAL" clId="{709353A2-C05E-42B3-B188-F2AE32CC2A1F}" dt="2022-11-24T08:55:10.987" v="1712" actId="478"/>
          <ac:picMkLst>
            <pc:docMk/>
            <pc:sldMk cId="2389422069" sldId="293"/>
            <ac:picMk id="20" creationId="{C306C463-52CE-460F-ABCF-131FD57A3D4A}"/>
          </ac:picMkLst>
        </pc:picChg>
        <pc:picChg chg="add mod">
          <ac:chgData name="Pol Cunyat Llorens" userId="7d9d6803-1d02-4a93-b87d-f75ca3a15424" providerId="ADAL" clId="{709353A2-C05E-42B3-B188-F2AE32CC2A1F}" dt="2022-11-24T08:55:58.882" v="1723" actId="1076"/>
          <ac:picMkLst>
            <pc:docMk/>
            <pc:sldMk cId="2389422069" sldId="293"/>
            <ac:picMk id="21" creationId="{DDD9468F-FB32-4C21-AC0D-308A92684138}"/>
          </ac:picMkLst>
        </pc:picChg>
        <pc:picChg chg="mod topLvl">
          <ac:chgData name="Pol Cunyat Llorens" userId="7d9d6803-1d02-4a93-b87d-f75ca3a15424" providerId="ADAL" clId="{709353A2-C05E-42B3-B188-F2AE32CC2A1F}" dt="2022-11-24T08:56:58.006" v="1814" actId="165"/>
          <ac:picMkLst>
            <pc:docMk/>
            <pc:sldMk cId="2389422069" sldId="293"/>
            <ac:picMk id="23" creationId="{F7AF1BA7-62C9-4721-8109-0F6776063696}"/>
          </ac:picMkLst>
        </pc:picChg>
        <pc:picChg chg="mod topLvl">
          <ac:chgData name="Pol Cunyat Llorens" userId="7d9d6803-1d02-4a93-b87d-f75ca3a15424" providerId="ADAL" clId="{709353A2-C05E-42B3-B188-F2AE32CC2A1F}" dt="2022-11-24T08:57:03.439" v="1829" actId="1037"/>
          <ac:picMkLst>
            <pc:docMk/>
            <pc:sldMk cId="2389422069" sldId="293"/>
            <ac:picMk id="24" creationId="{1D2CD52A-753C-45C4-A96A-03837F14564B}"/>
          </ac:picMkLst>
        </pc:picChg>
        <pc:picChg chg="mod topLvl">
          <ac:chgData name="Pol Cunyat Llorens" userId="7d9d6803-1d02-4a93-b87d-f75ca3a15424" providerId="ADAL" clId="{709353A2-C05E-42B3-B188-F2AE32CC2A1F}" dt="2022-11-24T08:57:03.439" v="1829" actId="1037"/>
          <ac:picMkLst>
            <pc:docMk/>
            <pc:sldMk cId="2389422069" sldId="293"/>
            <ac:picMk id="25" creationId="{658ECEDD-D2AA-4FF1-B89D-EE5AB67CB3E8}"/>
          </ac:picMkLst>
        </pc:picChg>
        <pc:picChg chg="del mod">
          <ac:chgData name="Pol Cunyat Llorens" userId="7d9d6803-1d02-4a93-b87d-f75ca3a15424" providerId="ADAL" clId="{709353A2-C05E-42B3-B188-F2AE32CC2A1F}" dt="2022-11-24T08:55:13.707" v="1713" actId="478"/>
          <ac:picMkLst>
            <pc:docMk/>
            <pc:sldMk cId="2389422069" sldId="293"/>
            <ac:picMk id="32" creationId="{942974F0-4F27-47D9-A735-38DFE3569E9A}"/>
          </ac:picMkLst>
        </pc:picChg>
      </pc:sldChg>
      <pc:sldChg chg="addSp delSp modSp add mod">
        <pc:chgData name="Pol Cunyat Llorens" userId="7d9d6803-1d02-4a93-b87d-f75ca3a15424" providerId="ADAL" clId="{709353A2-C05E-42B3-B188-F2AE32CC2A1F}" dt="2022-11-24T14:21:23.318" v="4181" actId="20577"/>
        <pc:sldMkLst>
          <pc:docMk/>
          <pc:sldMk cId="971305813" sldId="294"/>
        </pc:sldMkLst>
        <pc:spChg chg="mod">
          <ac:chgData name="Pol Cunyat Llorens" userId="7d9d6803-1d02-4a93-b87d-f75ca3a15424" providerId="ADAL" clId="{709353A2-C05E-42B3-B188-F2AE32CC2A1F}" dt="2022-11-24T14:04:43.644" v="4141" actId="20577"/>
          <ac:spMkLst>
            <pc:docMk/>
            <pc:sldMk cId="971305813" sldId="294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08:57:17.460" v="1831"/>
          <ac:spMkLst>
            <pc:docMk/>
            <pc:sldMk cId="971305813" sldId="294"/>
            <ac:spMk id="12" creationId="{ECD226D3-6AF9-46EE-894B-37174CE04593}"/>
          </ac:spMkLst>
        </pc:spChg>
        <pc:spChg chg="mod">
          <ac:chgData name="Pol Cunyat Llorens" userId="7d9d6803-1d02-4a93-b87d-f75ca3a15424" providerId="ADAL" clId="{709353A2-C05E-42B3-B188-F2AE32CC2A1F}" dt="2022-11-24T08:59:52.887" v="1889" actId="12789"/>
          <ac:spMkLst>
            <pc:docMk/>
            <pc:sldMk cId="971305813" sldId="294"/>
            <ac:spMk id="13" creationId="{34C4E708-C099-4A03-BD6D-DFBE19D563FF}"/>
          </ac:spMkLst>
        </pc:spChg>
        <pc:spChg chg="mod">
          <ac:chgData name="Pol Cunyat Llorens" userId="7d9d6803-1d02-4a93-b87d-f75ca3a15424" providerId="ADAL" clId="{709353A2-C05E-42B3-B188-F2AE32CC2A1F}" dt="2022-11-24T12:02:49.551" v="3832" actId="14100"/>
          <ac:spMkLst>
            <pc:docMk/>
            <pc:sldMk cId="971305813" sldId="294"/>
            <ac:spMk id="14" creationId="{7353343D-BB8C-4168-B7F3-40E63E30CC81}"/>
          </ac:spMkLst>
        </pc:spChg>
        <pc:spChg chg="add mod">
          <ac:chgData name="Pol Cunyat Llorens" userId="7d9d6803-1d02-4a93-b87d-f75ca3a15424" providerId="ADAL" clId="{709353A2-C05E-42B3-B188-F2AE32CC2A1F}" dt="2022-11-24T08:58:44.389" v="1871" actId="1036"/>
          <ac:spMkLst>
            <pc:docMk/>
            <pc:sldMk cId="971305813" sldId="294"/>
            <ac:spMk id="19" creationId="{32B39285-B864-462D-9FD2-56D4080D2A24}"/>
          </ac:spMkLst>
        </pc:spChg>
        <pc:spChg chg="add mod">
          <ac:chgData name="Pol Cunyat Llorens" userId="7d9d6803-1d02-4a93-b87d-f75ca3a15424" providerId="ADAL" clId="{709353A2-C05E-42B3-B188-F2AE32CC2A1F}" dt="2022-11-24T08:58:44.389" v="1871" actId="1036"/>
          <ac:spMkLst>
            <pc:docMk/>
            <pc:sldMk cId="971305813" sldId="294"/>
            <ac:spMk id="20" creationId="{3CE8F701-226B-4579-83D3-E678DF9CE086}"/>
          </ac:spMkLst>
        </pc:spChg>
        <pc:spChg chg="add mod">
          <ac:chgData name="Pol Cunyat Llorens" userId="7d9d6803-1d02-4a93-b87d-f75ca3a15424" providerId="ADAL" clId="{709353A2-C05E-42B3-B188-F2AE32CC2A1F}" dt="2022-11-24T08:58:44.389" v="1871" actId="1036"/>
          <ac:spMkLst>
            <pc:docMk/>
            <pc:sldMk cId="971305813" sldId="294"/>
            <ac:spMk id="22" creationId="{5B2806AF-7699-441B-9D88-13D3BA8227B3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26" creationId="{58963752-8135-4C00-835D-C405611F4954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27" creationId="{D61FE553-8E97-4DD7-9FA0-852678EB022E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28" creationId="{3BB23D1E-E370-4E47-9E04-3BC6FF6D2662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29" creationId="{46BCA5F5-005D-405F-AF0B-5904BB40889C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30" creationId="{DA131A1E-6A55-4466-9572-272241FCC0C7}"/>
          </ac:spMkLst>
        </pc:spChg>
        <pc:spChg chg="del mod">
          <ac:chgData name="Pol Cunyat Llorens" userId="7d9d6803-1d02-4a93-b87d-f75ca3a15424" providerId="ADAL" clId="{709353A2-C05E-42B3-B188-F2AE32CC2A1F}" dt="2022-11-24T08:57:27.902" v="1832" actId="478"/>
          <ac:spMkLst>
            <pc:docMk/>
            <pc:sldMk cId="971305813" sldId="294"/>
            <ac:spMk id="31" creationId="{33666EB7-32AD-485B-A2C8-E4DCA709A1DE}"/>
          </ac:spMkLst>
        </pc:spChg>
        <pc:spChg chg="add mod">
          <ac:chgData name="Pol Cunyat Llorens" userId="7d9d6803-1d02-4a93-b87d-f75ca3a15424" providerId="ADAL" clId="{709353A2-C05E-42B3-B188-F2AE32CC2A1F}" dt="2022-11-24T14:21:14.442" v="4167" actId="20577"/>
          <ac:spMkLst>
            <pc:docMk/>
            <pc:sldMk cId="971305813" sldId="294"/>
            <ac:spMk id="32" creationId="{3D583D63-0882-4C55-BD4B-2E590E08833F}"/>
          </ac:spMkLst>
        </pc:spChg>
        <pc:spChg chg="add mod">
          <ac:chgData name="Pol Cunyat Llorens" userId="7d9d6803-1d02-4a93-b87d-f75ca3a15424" providerId="ADAL" clId="{709353A2-C05E-42B3-B188-F2AE32CC2A1F}" dt="2022-11-24T14:21:19.673" v="4174" actId="20577"/>
          <ac:spMkLst>
            <pc:docMk/>
            <pc:sldMk cId="971305813" sldId="294"/>
            <ac:spMk id="33" creationId="{976C883A-ECCE-434E-B156-0A5C49B0579C}"/>
          </ac:spMkLst>
        </pc:spChg>
        <pc:spChg chg="add mod">
          <ac:chgData name="Pol Cunyat Llorens" userId="7d9d6803-1d02-4a93-b87d-f75ca3a15424" providerId="ADAL" clId="{709353A2-C05E-42B3-B188-F2AE32CC2A1F}" dt="2022-11-24T14:21:23.318" v="4181" actId="20577"/>
          <ac:spMkLst>
            <pc:docMk/>
            <pc:sldMk cId="971305813" sldId="294"/>
            <ac:spMk id="34" creationId="{B2E20DB1-4C9B-439E-BAC5-DDAFBBE5F088}"/>
          </ac:spMkLst>
        </pc:spChg>
        <pc:spChg chg="mod">
          <ac:chgData name="Pol Cunyat Llorens" userId="7d9d6803-1d02-4a93-b87d-f75ca3a15424" providerId="ADAL" clId="{709353A2-C05E-42B3-B188-F2AE32CC2A1F}" dt="2022-11-24T08:59:52.887" v="1889" actId="12789"/>
          <ac:spMkLst>
            <pc:docMk/>
            <pc:sldMk cId="971305813" sldId="294"/>
            <ac:spMk id="36" creationId="{AA0E32AB-2513-44B8-A6A8-2251E4BEA658}"/>
          </ac:spMkLst>
        </pc:spChg>
        <pc:grpChg chg="mod">
          <ac:chgData name="Pol Cunyat Llorens" userId="7d9d6803-1d02-4a93-b87d-f75ca3a15424" providerId="ADAL" clId="{709353A2-C05E-42B3-B188-F2AE32CC2A1F}" dt="2022-11-24T08:57:17.460" v="1831"/>
          <ac:grpSpMkLst>
            <pc:docMk/>
            <pc:sldMk cId="971305813" sldId="294"/>
            <ac:grpSpMk id="1" creationId="{00000000-0000-0000-0000-000000000000}"/>
          </ac:grpSpMkLst>
        </pc:grpChg>
        <pc:grpChg chg="add del mod">
          <ac:chgData name="Pol Cunyat Llorens" userId="7d9d6803-1d02-4a93-b87d-f75ca3a15424" providerId="ADAL" clId="{709353A2-C05E-42B3-B188-F2AE32CC2A1F}" dt="2022-11-24T08:58:27.201" v="1848" actId="165"/>
          <ac:grpSpMkLst>
            <pc:docMk/>
            <pc:sldMk cId="971305813" sldId="294"/>
            <ac:grpSpMk id="2" creationId="{0BA9D4A5-6449-428E-BB18-8D98C9BEC8C7}"/>
          </ac:grpSpMkLst>
        </pc:grpChg>
        <pc:graphicFrameChg chg="mod">
          <ac:chgData name="Pol Cunyat Llorens" userId="7d9d6803-1d02-4a93-b87d-f75ca3a15424" providerId="ADAL" clId="{709353A2-C05E-42B3-B188-F2AE32CC2A1F}" dt="2022-11-24T08:57:17.460" v="1831"/>
          <ac:graphicFrameMkLst>
            <pc:docMk/>
            <pc:sldMk cId="971305813" sldId="294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11:55:33.359" v="3272"/>
          <ac:picMkLst>
            <pc:docMk/>
            <pc:sldMk cId="971305813" sldId="294"/>
            <ac:picMk id="21" creationId="{DDD9468F-FB32-4C21-AC0D-308A92684138}"/>
          </ac:picMkLst>
        </pc:picChg>
        <pc:picChg chg="mod topLvl">
          <ac:chgData name="Pol Cunyat Llorens" userId="7d9d6803-1d02-4a93-b87d-f75ca3a15424" providerId="ADAL" clId="{709353A2-C05E-42B3-B188-F2AE32CC2A1F}" dt="2022-11-24T11:55:39.722" v="3273"/>
          <ac:picMkLst>
            <pc:docMk/>
            <pc:sldMk cId="971305813" sldId="294"/>
            <ac:picMk id="23" creationId="{F7AF1BA7-62C9-4721-8109-0F6776063696}"/>
          </ac:picMkLst>
        </pc:picChg>
        <pc:picChg chg="mod topLvl">
          <ac:chgData name="Pol Cunyat Llorens" userId="7d9d6803-1d02-4a93-b87d-f75ca3a15424" providerId="ADAL" clId="{709353A2-C05E-42B3-B188-F2AE32CC2A1F}" dt="2022-11-24T11:55:39.722" v="3273"/>
          <ac:picMkLst>
            <pc:docMk/>
            <pc:sldMk cId="971305813" sldId="294"/>
            <ac:picMk id="24" creationId="{1D2CD52A-753C-45C4-A96A-03837F14564B}"/>
          </ac:picMkLst>
        </pc:picChg>
        <pc:picChg chg="mod topLvl">
          <ac:chgData name="Pol Cunyat Llorens" userId="7d9d6803-1d02-4a93-b87d-f75ca3a15424" providerId="ADAL" clId="{709353A2-C05E-42B3-B188-F2AE32CC2A1F}" dt="2022-11-24T11:55:39.722" v="3273"/>
          <ac:picMkLst>
            <pc:docMk/>
            <pc:sldMk cId="971305813" sldId="294"/>
            <ac:picMk id="25" creationId="{658ECEDD-D2AA-4FF1-B89D-EE5AB67CB3E8}"/>
          </ac:picMkLst>
        </pc:picChg>
      </pc:sldChg>
      <pc:sldChg chg="addSp delSp modSp add del mod modTransition modShow">
        <pc:chgData name="Pol Cunyat Llorens" userId="7d9d6803-1d02-4a93-b87d-f75ca3a15424" providerId="ADAL" clId="{709353A2-C05E-42B3-B188-F2AE32CC2A1F}" dt="2022-11-24T12:19:14.418" v="4139" actId="47"/>
        <pc:sldMkLst>
          <pc:docMk/>
          <pc:sldMk cId="2774455759" sldId="295"/>
        </pc:sldMkLst>
        <pc:spChg chg="mod ord">
          <ac:chgData name="Pol Cunyat Llorens" userId="7d9d6803-1d02-4a93-b87d-f75ca3a15424" providerId="ADAL" clId="{709353A2-C05E-42B3-B188-F2AE32CC2A1F}" dt="2022-11-24T11:43:13.267" v="3166"/>
          <ac:spMkLst>
            <pc:docMk/>
            <pc:sldMk cId="2774455759" sldId="295"/>
            <ac:spMk id="4" creationId="{0713D094-5544-4038-A7B6-11AAC3006101}"/>
          </ac:spMkLst>
        </pc:spChg>
        <pc:spChg chg="mod ord">
          <ac:chgData name="Pol Cunyat Llorens" userId="7d9d6803-1d02-4a93-b87d-f75ca3a15424" providerId="ADAL" clId="{709353A2-C05E-42B3-B188-F2AE32CC2A1F}" dt="2022-11-24T11:43:13.267" v="3168"/>
          <ac:spMkLst>
            <pc:docMk/>
            <pc:sldMk cId="2774455759" sldId="295"/>
            <ac:spMk id="5" creationId="{CFD70945-C5A1-42DE-AB29-2B84D5CB0D72}"/>
          </ac:spMkLst>
        </pc:spChg>
        <pc:spChg chg="add mod">
          <ac:chgData name="Pol Cunyat Llorens" userId="7d9d6803-1d02-4a93-b87d-f75ca3a15424" providerId="ADAL" clId="{709353A2-C05E-42B3-B188-F2AE32CC2A1F}" dt="2022-11-24T11:38:55.798" v="3153" actId="113"/>
          <ac:spMkLst>
            <pc:docMk/>
            <pc:sldMk cId="2774455759" sldId="295"/>
            <ac:spMk id="11" creationId="{30FD1618-C12D-49CD-B225-68B5CD54BDFA}"/>
          </ac:spMkLst>
        </pc:spChg>
        <pc:spChg chg="add mod ord">
          <ac:chgData name="Pol Cunyat Llorens" userId="7d9d6803-1d02-4a93-b87d-f75ca3a15424" providerId="ADAL" clId="{709353A2-C05E-42B3-B188-F2AE32CC2A1F}" dt="2022-11-24T12:07:23.896" v="4036" actId="207"/>
          <ac:spMkLst>
            <pc:docMk/>
            <pc:sldMk cId="2774455759" sldId="295"/>
            <ac:spMk id="15" creationId="{33F58865-3330-42A0-97C6-415A94095A27}"/>
          </ac:spMkLst>
        </pc:spChg>
        <pc:spChg chg="add mod ord">
          <ac:chgData name="Pol Cunyat Llorens" userId="7d9d6803-1d02-4a93-b87d-f75ca3a15424" providerId="ADAL" clId="{709353A2-C05E-42B3-B188-F2AE32CC2A1F}" dt="2022-11-24T11:43:13.268" v="3174"/>
          <ac:spMkLst>
            <pc:docMk/>
            <pc:sldMk cId="2774455759" sldId="295"/>
            <ac:spMk id="16" creationId="{BD8CE207-87F1-44E8-8706-BEDBEC3D9FD0}"/>
          </ac:spMkLst>
        </pc:spChg>
        <pc:spChg chg="add del mod">
          <ac:chgData name="Pol Cunyat Llorens" userId="7d9d6803-1d02-4a93-b87d-f75ca3a15424" providerId="ADAL" clId="{709353A2-C05E-42B3-B188-F2AE32CC2A1F}" dt="2022-11-24T11:12:29.547" v="2793" actId="478"/>
          <ac:spMkLst>
            <pc:docMk/>
            <pc:sldMk cId="2774455759" sldId="295"/>
            <ac:spMk id="19" creationId="{2D7D3650-3299-42F6-BF1A-C260705B5298}"/>
          </ac:spMkLst>
        </pc:spChg>
        <pc:spChg chg="add del mod">
          <ac:chgData name="Pol Cunyat Llorens" userId="7d9d6803-1d02-4a93-b87d-f75ca3a15424" providerId="ADAL" clId="{709353A2-C05E-42B3-B188-F2AE32CC2A1F}" dt="2022-11-24T11:10:36.356" v="2776" actId="478"/>
          <ac:spMkLst>
            <pc:docMk/>
            <pc:sldMk cId="2774455759" sldId="295"/>
            <ac:spMk id="20" creationId="{AD9C355D-BA58-48E6-A3E7-6463E1B9A1EF}"/>
          </ac:spMkLst>
        </pc:spChg>
        <pc:spChg chg="add mod ord">
          <ac:chgData name="Pol Cunyat Llorens" userId="7d9d6803-1d02-4a93-b87d-f75ca3a15424" providerId="ADAL" clId="{709353A2-C05E-42B3-B188-F2AE32CC2A1F}" dt="2022-11-24T11:43:13.268" v="3178"/>
          <ac:spMkLst>
            <pc:docMk/>
            <pc:sldMk cId="2774455759" sldId="295"/>
            <ac:spMk id="28" creationId="{4933E7B1-20CB-4657-BD57-3AB4A438E290}"/>
          </ac:spMkLst>
        </pc:spChg>
        <pc:spChg chg="add mod topLvl">
          <ac:chgData name="Pol Cunyat Llorens" userId="7d9d6803-1d02-4a93-b87d-f75ca3a15424" providerId="ADAL" clId="{709353A2-C05E-42B3-B188-F2AE32CC2A1F}" dt="2022-11-24T11:38:47.438" v="3151" actId="113"/>
          <ac:spMkLst>
            <pc:docMk/>
            <pc:sldMk cId="2774455759" sldId="295"/>
            <ac:spMk id="29" creationId="{07C26BF6-75BD-4E7F-8301-3BC6A4955B0B}"/>
          </ac:spMkLst>
        </pc:spChg>
        <pc:spChg chg="add mod topLvl">
          <ac:chgData name="Pol Cunyat Llorens" userId="7d9d6803-1d02-4a93-b87d-f75ca3a15424" providerId="ADAL" clId="{709353A2-C05E-42B3-B188-F2AE32CC2A1F}" dt="2022-11-24T11:38:47.438" v="3151" actId="113"/>
          <ac:spMkLst>
            <pc:docMk/>
            <pc:sldMk cId="2774455759" sldId="295"/>
            <ac:spMk id="33" creationId="{2FE7B704-02A7-4218-A9B4-B862E7324A99}"/>
          </ac:spMkLst>
        </pc:spChg>
        <pc:spChg chg="add mod ord">
          <ac:chgData name="Pol Cunyat Llorens" userId="7d9d6803-1d02-4a93-b87d-f75ca3a15424" providerId="ADAL" clId="{709353A2-C05E-42B3-B188-F2AE32CC2A1F}" dt="2022-11-24T11:43:13.269" v="3186"/>
          <ac:spMkLst>
            <pc:docMk/>
            <pc:sldMk cId="2774455759" sldId="295"/>
            <ac:spMk id="37" creationId="{CE2DC969-3E8C-475F-AE65-E37EA5A376AC}"/>
          </ac:spMkLst>
        </pc:spChg>
        <pc:spChg chg="add mod">
          <ac:chgData name="Pol Cunyat Llorens" userId="7d9d6803-1d02-4a93-b87d-f75ca3a15424" providerId="ADAL" clId="{709353A2-C05E-42B3-B188-F2AE32CC2A1F}" dt="2022-11-24T11:44:56.193" v="3270" actId="164"/>
          <ac:spMkLst>
            <pc:docMk/>
            <pc:sldMk cId="2774455759" sldId="295"/>
            <ac:spMk id="42" creationId="{D9F3B172-BCFE-4C9D-9959-CC4D97F72645}"/>
          </ac:spMkLst>
        </pc:spChg>
        <pc:grpChg chg="mod">
          <ac:chgData name="Pol Cunyat Llorens" userId="7d9d6803-1d02-4a93-b87d-f75ca3a15424" providerId="ADAL" clId="{709353A2-C05E-42B3-B188-F2AE32CC2A1F}" dt="2022-11-24T09:56:28.307" v="2553"/>
          <ac:grpSpMkLst>
            <pc:docMk/>
            <pc:sldMk cId="2774455759" sldId="295"/>
            <ac:grpSpMk id="1" creationId="{00000000-0000-0000-0000-000000000000}"/>
          </ac:grpSpMkLst>
        </pc:grpChg>
        <pc:grpChg chg="add mod ord">
          <ac:chgData name="Pol Cunyat Llorens" userId="7d9d6803-1d02-4a93-b87d-f75ca3a15424" providerId="ADAL" clId="{709353A2-C05E-42B3-B188-F2AE32CC2A1F}" dt="2022-11-24T11:43:13.267" v="3170"/>
          <ac:grpSpMkLst>
            <pc:docMk/>
            <pc:sldMk cId="2774455759" sldId="295"/>
            <ac:grpSpMk id="13" creationId="{D7CFB680-CFDD-4DBB-B79C-3AF54507EF27}"/>
          </ac:grpSpMkLst>
        </pc:grpChg>
        <pc:grpChg chg="add del mod">
          <ac:chgData name="Pol Cunyat Llorens" userId="7d9d6803-1d02-4a93-b87d-f75ca3a15424" providerId="ADAL" clId="{709353A2-C05E-42B3-B188-F2AE32CC2A1F}" dt="2022-11-24T11:18:18.734" v="2945" actId="165"/>
          <ac:grpSpMkLst>
            <pc:docMk/>
            <pc:sldMk cId="2774455759" sldId="295"/>
            <ac:grpSpMk id="30" creationId="{393C6E55-3BFC-42AC-8001-3068FAC0D34F}"/>
          </ac:grpSpMkLst>
        </pc:grpChg>
        <pc:grpChg chg="add del mod">
          <ac:chgData name="Pol Cunyat Llorens" userId="7d9d6803-1d02-4a93-b87d-f75ca3a15424" providerId="ADAL" clId="{709353A2-C05E-42B3-B188-F2AE32CC2A1F}" dt="2022-11-24T11:27:41.735" v="3142" actId="165"/>
          <ac:grpSpMkLst>
            <pc:docMk/>
            <pc:sldMk cId="2774455759" sldId="295"/>
            <ac:grpSpMk id="34" creationId="{C0516543-8014-48F3-9C69-3860CE86D269}"/>
          </ac:grpSpMkLst>
        </pc:grpChg>
        <pc:grpChg chg="add mod ord">
          <ac:chgData name="Pol Cunyat Llorens" userId="7d9d6803-1d02-4a93-b87d-f75ca3a15424" providerId="ADAL" clId="{709353A2-C05E-42B3-B188-F2AE32CC2A1F}" dt="2022-11-24T11:43:13.269" v="3180"/>
          <ac:grpSpMkLst>
            <pc:docMk/>
            <pc:sldMk cId="2774455759" sldId="295"/>
            <ac:grpSpMk id="38" creationId="{89F65382-77EE-42FD-9F94-0DA3414A5DBD}"/>
          </ac:grpSpMkLst>
        </pc:grpChg>
        <pc:grpChg chg="add mod ord">
          <ac:chgData name="Pol Cunyat Llorens" userId="7d9d6803-1d02-4a93-b87d-f75ca3a15424" providerId="ADAL" clId="{709353A2-C05E-42B3-B188-F2AE32CC2A1F}" dt="2022-11-24T11:43:13.269" v="3182"/>
          <ac:grpSpMkLst>
            <pc:docMk/>
            <pc:sldMk cId="2774455759" sldId="295"/>
            <ac:grpSpMk id="39" creationId="{0C232038-A25B-4C4C-9C82-0B3E88B29FAA}"/>
          </ac:grpSpMkLst>
        </pc:grpChg>
        <pc:grpChg chg="add mod">
          <ac:chgData name="Pol Cunyat Llorens" userId="7d9d6803-1d02-4a93-b87d-f75ca3a15424" providerId="ADAL" clId="{709353A2-C05E-42B3-B188-F2AE32CC2A1F}" dt="2022-11-24T11:45:01.645" v="3271" actId="1076"/>
          <ac:grpSpMkLst>
            <pc:docMk/>
            <pc:sldMk cId="2774455759" sldId="295"/>
            <ac:grpSpMk id="43" creationId="{4D001F08-6394-4654-9BA4-46054DBC3DAC}"/>
          </ac:grpSpMkLst>
        </pc:grpChg>
        <pc:graphicFrameChg chg="mod">
          <ac:chgData name="Pol Cunyat Llorens" userId="7d9d6803-1d02-4a93-b87d-f75ca3a15424" providerId="ADAL" clId="{709353A2-C05E-42B3-B188-F2AE32CC2A1F}" dt="2022-11-24T11:43:13.274" v="3192"/>
          <ac:graphicFrameMkLst>
            <pc:docMk/>
            <pc:sldMk cId="2774455759" sldId="295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3" creationId="{831BCC1A-22B6-4F2A-B46C-172DC034A6E7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7" creationId="{F3A6232B-8781-452B-B7D2-7A3F29900CA9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8" creationId="{939B82F5-4BFE-4069-99DA-5A3C647D5C6D}"/>
          </ac:picMkLst>
        </pc:picChg>
        <pc:picChg chg="add mod modCrop">
          <ac:chgData name="Pol Cunyat Llorens" userId="7d9d6803-1d02-4a93-b87d-f75ca3a15424" providerId="ADAL" clId="{709353A2-C05E-42B3-B188-F2AE32CC2A1F}" dt="2022-11-24T11:08:32.176" v="2759" actId="2085"/>
          <ac:picMkLst>
            <pc:docMk/>
            <pc:sldMk cId="2774455759" sldId="295"/>
            <ac:picMk id="9" creationId="{5D9BC752-1D64-4DA1-8D1A-FD3785F50706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10" creationId="{CF7CDBB1-666F-4E15-9E78-7D11EF86E387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12" creationId="{C7D3DA14-74FA-4189-90F3-492FC945119F}"/>
          </ac:picMkLst>
        </pc:picChg>
        <pc:picChg chg="del mod">
          <ac:chgData name="Pol Cunyat Llorens" userId="7d9d6803-1d02-4a93-b87d-f75ca3a15424" providerId="ADAL" clId="{709353A2-C05E-42B3-B188-F2AE32CC2A1F}" dt="2022-11-24T09:56:33.646" v="2554" actId="478"/>
          <ac:picMkLst>
            <pc:docMk/>
            <pc:sldMk cId="2774455759" sldId="295"/>
            <ac:picMk id="14" creationId="{85A1EE42-8200-4C13-BF7E-91E16D849CC3}"/>
          </ac:picMkLst>
        </pc:picChg>
        <pc:picChg chg="add mod ord modCrop">
          <ac:chgData name="Pol Cunyat Llorens" userId="7d9d6803-1d02-4a93-b87d-f75ca3a15424" providerId="ADAL" clId="{709353A2-C05E-42B3-B188-F2AE32CC2A1F}" dt="2022-11-24T11:43:13.270" v="3190"/>
          <ac:picMkLst>
            <pc:docMk/>
            <pc:sldMk cId="2774455759" sldId="295"/>
            <ac:picMk id="18" creationId="{0E3C2C57-38EC-4DDA-9B7D-D19E517D1DFF}"/>
          </ac:picMkLst>
        </pc:picChg>
        <pc:picChg chg="add del mod">
          <ac:chgData name="Pol Cunyat Llorens" userId="7d9d6803-1d02-4a93-b87d-f75ca3a15424" providerId="ADAL" clId="{709353A2-C05E-42B3-B188-F2AE32CC2A1F}" dt="2022-11-24T11:12:18.026" v="2787" actId="478"/>
          <ac:picMkLst>
            <pc:docMk/>
            <pc:sldMk cId="2774455759" sldId="295"/>
            <ac:picMk id="22" creationId="{399AD415-AB95-45AE-8649-069DFED5099D}"/>
          </ac:picMkLst>
        </pc:picChg>
        <pc:picChg chg="add del mod">
          <ac:chgData name="Pol Cunyat Llorens" userId="7d9d6803-1d02-4a93-b87d-f75ca3a15424" providerId="ADAL" clId="{709353A2-C05E-42B3-B188-F2AE32CC2A1F}" dt="2022-11-24T11:12:18.026" v="2787" actId="478"/>
          <ac:picMkLst>
            <pc:docMk/>
            <pc:sldMk cId="2774455759" sldId="295"/>
            <ac:picMk id="24" creationId="{FCC40587-AF97-4AF2-8369-625FC426A3AB}"/>
          </ac:picMkLst>
        </pc:picChg>
        <pc:picChg chg="add mod ord topLvl modCrop">
          <ac:chgData name="Pol Cunyat Llorens" userId="7d9d6803-1d02-4a93-b87d-f75ca3a15424" providerId="ADAL" clId="{709353A2-C05E-42B3-B188-F2AE32CC2A1F}" dt="2022-11-24T11:27:21.121" v="3140" actId="164"/>
          <ac:picMkLst>
            <pc:docMk/>
            <pc:sldMk cId="2774455759" sldId="295"/>
            <ac:picMk id="26" creationId="{30B65DB2-15A1-4576-A29D-6B4601FF13BC}"/>
          </ac:picMkLst>
        </pc:picChg>
        <pc:picChg chg="add mod ord">
          <ac:chgData name="Pol Cunyat Llorens" userId="7d9d6803-1d02-4a93-b87d-f75ca3a15424" providerId="ADAL" clId="{709353A2-C05E-42B3-B188-F2AE32CC2A1F}" dt="2022-11-24T11:43:13.268" v="3176"/>
          <ac:picMkLst>
            <pc:docMk/>
            <pc:sldMk cId="2774455759" sldId="295"/>
            <ac:picMk id="27" creationId="{2A53BEB6-1CE6-4A92-9B49-46358409426F}"/>
          </ac:picMkLst>
        </pc:picChg>
        <pc:picChg chg="add mod topLvl modCrop">
          <ac:chgData name="Pol Cunyat Llorens" userId="7d9d6803-1d02-4a93-b87d-f75ca3a15424" providerId="ADAL" clId="{709353A2-C05E-42B3-B188-F2AE32CC2A1F}" dt="2022-11-24T11:28:26.622" v="3148" actId="164"/>
          <ac:picMkLst>
            <pc:docMk/>
            <pc:sldMk cId="2774455759" sldId="295"/>
            <ac:picMk id="32" creationId="{46AE9A2E-A1D4-4A7A-BC2A-D98BD42E5DC0}"/>
          </ac:picMkLst>
        </pc:picChg>
        <pc:picChg chg="add mod ord modCrop">
          <ac:chgData name="Pol Cunyat Llorens" userId="7d9d6803-1d02-4a93-b87d-f75ca3a15424" providerId="ADAL" clId="{709353A2-C05E-42B3-B188-F2AE32CC2A1F}" dt="2022-11-24T11:43:13.269" v="3184"/>
          <ac:picMkLst>
            <pc:docMk/>
            <pc:sldMk cId="2774455759" sldId="295"/>
            <ac:picMk id="36" creationId="{54ADBF5C-A923-498C-A503-ACFBD870CF8E}"/>
          </ac:picMkLst>
        </pc:picChg>
        <pc:picChg chg="add mod ord">
          <ac:chgData name="Pol Cunyat Llorens" userId="7d9d6803-1d02-4a93-b87d-f75ca3a15424" providerId="ADAL" clId="{709353A2-C05E-42B3-B188-F2AE32CC2A1F}" dt="2022-11-24T11:44:56.193" v="3270" actId="164"/>
          <ac:picMkLst>
            <pc:docMk/>
            <pc:sldMk cId="2774455759" sldId="295"/>
            <ac:picMk id="41" creationId="{51E89FE5-78EE-4913-9877-5BFD37FD90DD}"/>
          </ac:picMkLst>
        </pc:picChg>
      </pc:sldChg>
      <pc:sldChg chg="delSp modSp add del mod">
        <pc:chgData name="Pol Cunyat Llorens" userId="7d9d6803-1d02-4a93-b87d-f75ca3a15424" providerId="ADAL" clId="{709353A2-C05E-42B3-B188-F2AE32CC2A1F}" dt="2022-11-24T12:07:08.010" v="4032" actId="47"/>
        <pc:sldMkLst>
          <pc:docMk/>
          <pc:sldMk cId="4236434482" sldId="296"/>
        </pc:sldMkLst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11" creationId="{30FD1618-C12D-49CD-B225-68B5CD54BDFA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15" creationId="{33F58865-3330-42A0-97C6-415A94095A27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16" creationId="{BD8CE207-87F1-44E8-8706-BEDBEC3D9FD0}"/>
          </ac:spMkLst>
        </pc:spChg>
        <pc:spChg chg="del mod">
          <ac:chgData name="Pol Cunyat Llorens" userId="7d9d6803-1d02-4a93-b87d-f75ca3a15424" providerId="ADAL" clId="{709353A2-C05E-42B3-B188-F2AE32CC2A1F}" dt="2022-11-24T12:03:14.390" v="3836" actId="478"/>
          <ac:spMkLst>
            <pc:docMk/>
            <pc:sldMk cId="4236434482" sldId="296"/>
            <ac:spMk id="28" creationId="{4933E7B1-20CB-4657-BD57-3AB4A438E290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29" creationId="{07C26BF6-75BD-4E7F-8301-3BC6A4955B0B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33" creationId="{2FE7B704-02A7-4218-A9B4-B862E7324A99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37" creationId="{CE2DC969-3E8C-475F-AE65-E37EA5A376AC}"/>
          </ac:spMkLst>
        </pc:spChg>
        <pc:spChg chg="mod">
          <ac:chgData name="Pol Cunyat Llorens" userId="7d9d6803-1d02-4a93-b87d-f75ca3a15424" providerId="ADAL" clId="{709353A2-C05E-42B3-B188-F2AE32CC2A1F}" dt="2022-11-24T12:03:12.441" v="3835"/>
          <ac:spMkLst>
            <pc:docMk/>
            <pc:sldMk cId="4236434482" sldId="296"/>
            <ac:spMk id="42" creationId="{D9F3B172-BCFE-4C9D-9959-CC4D97F72645}"/>
          </ac:spMkLst>
        </pc:s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1" creationId="{00000000-0000-0000-0000-000000000000}"/>
          </ac:grpSpMkLst>
        </pc:gr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13" creationId="{D7CFB680-CFDD-4DBB-B79C-3AF54507EF27}"/>
          </ac:grpSpMkLst>
        </pc:gr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38" creationId="{89F65382-77EE-42FD-9F94-0DA3414A5DBD}"/>
          </ac:grpSpMkLst>
        </pc:gr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39" creationId="{0C232038-A25B-4C4C-9C82-0B3E88B29FAA}"/>
          </ac:grpSpMkLst>
        </pc:grpChg>
        <pc:grpChg chg="mod">
          <ac:chgData name="Pol Cunyat Llorens" userId="7d9d6803-1d02-4a93-b87d-f75ca3a15424" providerId="ADAL" clId="{709353A2-C05E-42B3-B188-F2AE32CC2A1F}" dt="2022-11-24T12:03:12.441" v="3835"/>
          <ac:grpSpMkLst>
            <pc:docMk/>
            <pc:sldMk cId="4236434482" sldId="296"/>
            <ac:grpSpMk id="43" creationId="{4D001F08-6394-4654-9BA4-46054DBC3DAC}"/>
          </ac:grpSpMkLst>
        </pc:grpChg>
        <pc:graphicFrameChg chg="mod">
          <ac:chgData name="Pol Cunyat Llorens" userId="7d9d6803-1d02-4a93-b87d-f75ca3a15424" providerId="ADAL" clId="{709353A2-C05E-42B3-B188-F2AE32CC2A1F}" dt="2022-11-24T12:03:12.441" v="3835"/>
          <ac:graphicFrameMkLst>
            <pc:docMk/>
            <pc:sldMk cId="4236434482" sldId="296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9" creationId="{5D9BC752-1D64-4DA1-8D1A-FD3785F50706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18" creationId="{0E3C2C57-38EC-4DDA-9B7D-D19E517D1DFF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26" creationId="{30B65DB2-15A1-4576-A29D-6B4601FF13BC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27" creationId="{2A53BEB6-1CE6-4A92-9B49-46358409426F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32" creationId="{46AE9A2E-A1D4-4A7A-BC2A-D98BD42E5DC0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36" creationId="{54ADBF5C-A923-498C-A503-ACFBD870CF8E}"/>
          </ac:picMkLst>
        </pc:picChg>
        <pc:picChg chg="mod">
          <ac:chgData name="Pol Cunyat Llorens" userId="7d9d6803-1d02-4a93-b87d-f75ca3a15424" providerId="ADAL" clId="{709353A2-C05E-42B3-B188-F2AE32CC2A1F}" dt="2022-11-24T12:03:12.441" v="3835"/>
          <ac:picMkLst>
            <pc:docMk/>
            <pc:sldMk cId="4236434482" sldId="296"/>
            <ac:picMk id="41" creationId="{51E89FE5-78EE-4913-9877-5BFD37FD90DD}"/>
          </ac:picMkLst>
        </pc:picChg>
      </pc:sldChg>
      <pc:sldChg chg="addSp delSp modSp add del mod">
        <pc:chgData name="Pol Cunyat Llorens" userId="7d9d6803-1d02-4a93-b87d-f75ca3a15424" providerId="ADAL" clId="{709353A2-C05E-42B3-B188-F2AE32CC2A1F}" dt="2022-11-24T15:03:19.607" v="4450" actId="47"/>
        <pc:sldMkLst>
          <pc:docMk/>
          <pc:sldMk cId="2093512998" sldId="297"/>
        </pc:sldMkLst>
        <pc:spChg chg="add mod ord">
          <ac:chgData name="Pol Cunyat Llorens" userId="7d9d6803-1d02-4a93-b87d-f75ca3a15424" providerId="ADAL" clId="{709353A2-C05E-42B3-B188-F2AE32CC2A1F}" dt="2022-11-24T12:17:34.732" v="4076"/>
          <ac:spMkLst>
            <pc:docMk/>
            <pc:sldMk cId="2093512998" sldId="297"/>
            <ac:spMk id="2" creationId="{4FAC9A26-6F58-44C1-B369-712910BA977C}"/>
          </ac:spMkLst>
        </pc:spChg>
        <pc:spChg chg="mod ord">
          <ac:chgData name="Pol Cunyat Llorens" userId="7d9d6803-1d02-4a93-b87d-f75ca3a15424" providerId="ADAL" clId="{709353A2-C05E-42B3-B188-F2AE32CC2A1F}" dt="2022-11-24T14:48:19.258" v="4277" actId="1036"/>
          <ac:spMkLst>
            <pc:docMk/>
            <pc:sldMk cId="2093512998" sldId="297"/>
            <ac:spMk id="4" creationId="{0713D094-5544-4038-A7B6-11AAC3006101}"/>
          </ac:spMkLst>
        </pc:spChg>
        <pc:spChg chg="mod ord">
          <ac:chgData name="Pol Cunyat Llorens" userId="7d9d6803-1d02-4a93-b87d-f75ca3a15424" providerId="ADAL" clId="{709353A2-C05E-42B3-B188-F2AE32CC2A1F}" dt="2022-11-24T12:17:34.729" v="4054"/>
          <ac:spMkLst>
            <pc:docMk/>
            <pc:sldMk cId="2093512998" sldId="297"/>
            <ac:spMk id="5" creationId="{CFD70945-C5A1-42DE-AB29-2B84D5CB0D72}"/>
          </ac:spMkLst>
        </pc:spChg>
        <pc:spChg chg="add mod">
          <ac:chgData name="Pol Cunyat Llorens" userId="7d9d6803-1d02-4a93-b87d-f75ca3a15424" providerId="ADAL" clId="{709353A2-C05E-42B3-B188-F2AE32CC2A1F}" dt="2022-11-24T14:35:03.650" v="4275" actId="1036"/>
          <ac:spMkLst>
            <pc:docMk/>
            <pc:sldMk cId="2093512998" sldId="297"/>
            <ac:spMk id="8" creationId="{28363F30-2EF1-46AD-9B9E-AD407D8741D2}"/>
          </ac:spMkLst>
        </pc:spChg>
        <pc:spChg chg="mod">
          <ac:chgData name="Pol Cunyat Llorens" userId="7d9d6803-1d02-4a93-b87d-f75ca3a15424" providerId="ADAL" clId="{709353A2-C05E-42B3-B188-F2AE32CC2A1F}" dt="2022-11-24T12:03:25.573" v="3838"/>
          <ac:spMkLst>
            <pc:docMk/>
            <pc:sldMk cId="2093512998" sldId="297"/>
            <ac:spMk id="11" creationId="{30FD1618-C12D-49CD-B225-68B5CD54BDFA}"/>
          </ac:spMkLst>
        </pc:spChg>
        <pc:spChg chg="mod ord">
          <ac:chgData name="Pol Cunyat Llorens" userId="7d9d6803-1d02-4a93-b87d-f75ca3a15424" providerId="ADAL" clId="{709353A2-C05E-42B3-B188-F2AE32CC2A1F}" dt="2022-11-24T12:17:34.730" v="4058"/>
          <ac:spMkLst>
            <pc:docMk/>
            <pc:sldMk cId="2093512998" sldId="297"/>
            <ac:spMk id="15" creationId="{33F58865-3330-42A0-97C6-415A94095A27}"/>
          </ac:spMkLst>
        </pc:spChg>
        <pc:spChg chg="mod ord">
          <ac:chgData name="Pol Cunyat Llorens" userId="7d9d6803-1d02-4a93-b87d-f75ca3a15424" providerId="ADAL" clId="{709353A2-C05E-42B3-B188-F2AE32CC2A1F}" dt="2022-11-24T12:17:34.730" v="4060"/>
          <ac:spMkLst>
            <pc:docMk/>
            <pc:sldMk cId="2093512998" sldId="297"/>
            <ac:spMk id="16" creationId="{BD8CE207-87F1-44E8-8706-BEDBEC3D9FD0}"/>
          </ac:spMkLst>
        </pc:spChg>
        <pc:spChg chg="del mod ord">
          <ac:chgData name="Pol Cunyat Llorens" userId="7d9d6803-1d02-4a93-b87d-f75ca3a15424" providerId="ADAL" clId="{709353A2-C05E-42B3-B188-F2AE32CC2A1F}" dt="2022-11-24T12:18:16.659" v="4135" actId="478"/>
          <ac:spMkLst>
            <pc:docMk/>
            <pc:sldMk cId="2093512998" sldId="297"/>
            <ac:spMk id="28" creationId="{4933E7B1-20CB-4657-BD57-3AB4A438E290}"/>
          </ac:spMkLst>
        </pc:spChg>
        <pc:spChg chg="mod">
          <ac:chgData name="Pol Cunyat Llorens" userId="7d9d6803-1d02-4a93-b87d-f75ca3a15424" providerId="ADAL" clId="{709353A2-C05E-42B3-B188-F2AE32CC2A1F}" dt="2022-11-24T12:03:25.573" v="3838"/>
          <ac:spMkLst>
            <pc:docMk/>
            <pc:sldMk cId="2093512998" sldId="297"/>
            <ac:spMk id="29" creationId="{07C26BF6-75BD-4E7F-8301-3BC6A4955B0B}"/>
          </ac:spMkLst>
        </pc:spChg>
        <pc:spChg chg="mod">
          <ac:chgData name="Pol Cunyat Llorens" userId="7d9d6803-1d02-4a93-b87d-f75ca3a15424" providerId="ADAL" clId="{709353A2-C05E-42B3-B188-F2AE32CC2A1F}" dt="2022-11-24T12:03:25.573" v="3838"/>
          <ac:spMkLst>
            <pc:docMk/>
            <pc:sldMk cId="2093512998" sldId="297"/>
            <ac:spMk id="33" creationId="{2FE7B704-02A7-4218-A9B4-B862E7324A99}"/>
          </ac:spMkLst>
        </pc:spChg>
        <pc:spChg chg="mod ord">
          <ac:chgData name="Pol Cunyat Llorens" userId="7d9d6803-1d02-4a93-b87d-f75ca3a15424" providerId="ADAL" clId="{709353A2-C05E-42B3-B188-F2AE32CC2A1F}" dt="2022-11-24T14:19:13.204" v="4150" actId="1035"/>
          <ac:spMkLst>
            <pc:docMk/>
            <pc:sldMk cId="2093512998" sldId="297"/>
            <ac:spMk id="37" creationId="{CE2DC969-3E8C-475F-AE65-E37EA5A376AC}"/>
          </ac:spMkLst>
        </pc:spChg>
        <pc:spChg chg="mod">
          <ac:chgData name="Pol Cunyat Llorens" userId="7d9d6803-1d02-4a93-b87d-f75ca3a15424" providerId="ADAL" clId="{709353A2-C05E-42B3-B188-F2AE32CC2A1F}" dt="2022-11-24T14:34:53.108" v="4259" actId="1036"/>
          <ac:spMkLst>
            <pc:docMk/>
            <pc:sldMk cId="2093512998" sldId="297"/>
            <ac:spMk id="42" creationId="{D9F3B172-BCFE-4C9D-9959-CC4D97F72645}"/>
          </ac:spMkLst>
        </pc:spChg>
        <pc:grpChg chg="mod">
          <ac:chgData name="Pol Cunyat Llorens" userId="7d9d6803-1d02-4a93-b87d-f75ca3a15424" providerId="ADAL" clId="{709353A2-C05E-42B3-B188-F2AE32CC2A1F}" dt="2022-11-24T12:03:25.573" v="3838"/>
          <ac:grpSpMkLst>
            <pc:docMk/>
            <pc:sldMk cId="2093512998" sldId="297"/>
            <ac:grpSpMk id="1" creationId="{00000000-0000-0000-0000-000000000000}"/>
          </ac:grpSpMkLst>
        </pc:grpChg>
        <pc:grpChg chg="mod ord">
          <ac:chgData name="Pol Cunyat Llorens" userId="7d9d6803-1d02-4a93-b87d-f75ca3a15424" providerId="ADAL" clId="{709353A2-C05E-42B3-B188-F2AE32CC2A1F}" dt="2022-11-24T12:17:34.729" v="4056"/>
          <ac:grpSpMkLst>
            <pc:docMk/>
            <pc:sldMk cId="2093512998" sldId="297"/>
            <ac:grpSpMk id="13" creationId="{D7CFB680-CFDD-4DBB-B79C-3AF54507EF27}"/>
          </ac:grpSpMkLst>
        </pc:grpChg>
        <pc:grpChg chg="mod ord">
          <ac:chgData name="Pol Cunyat Llorens" userId="7d9d6803-1d02-4a93-b87d-f75ca3a15424" providerId="ADAL" clId="{709353A2-C05E-42B3-B188-F2AE32CC2A1F}" dt="2022-11-24T12:17:34.731" v="4072"/>
          <ac:grpSpMkLst>
            <pc:docMk/>
            <pc:sldMk cId="2093512998" sldId="297"/>
            <ac:grpSpMk id="38" creationId="{89F65382-77EE-42FD-9F94-0DA3414A5DBD}"/>
          </ac:grpSpMkLst>
        </pc:grpChg>
        <pc:grpChg chg="mod ord">
          <ac:chgData name="Pol Cunyat Llorens" userId="7d9d6803-1d02-4a93-b87d-f75ca3a15424" providerId="ADAL" clId="{709353A2-C05E-42B3-B188-F2AE32CC2A1F}" dt="2022-11-24T12:17:34.731" v="4066"/>
          <ac:grpSpMkLst>
            <pc:docMk/>
            <pc:sldMk cId="2093512998" sldId="297"/>
            <ac:grpSpMk id="39" creationId="{0C232038-A25B-4C4C-9C82-0B3E88B29FAA}"/>
          </ac:grpSpMkLst>
        </pc:grpChg>
        <pc:grpChg chg="mod ord">
          <ac:chgData name="Pol Cunyat Llorens" userId="7d9d6803-1d02-4a93-b87d-f75ca3a15424" providerId="ADAL" clId="{709353A2-C05E-42B3-B188-F2AE32CC2A1F}" dt="2022-11-24T12:17:34.732" v="4080"/>
          <ac:grpSpMkLst>
            <pc:docMk/>
            <pc:sldMk cId="2093512998" sldId="297"/>
            <ac:grpSpMk id="43" creationId="{4D001F08-6394-4654-9BA4-46054DBC3DAC}"/>
          </ac:grpSpMkLst>
        </pc:grpChg>
        <pc:graphicFrameChg chg="mod">
          <ac:chgData name="Pol Cunyat Llorens" userId="7d9d6803-1d02-4a93-b87d-f75ca3a15424" providerId="ADAL" clId="{709353A2-C05E-42B3-B188-F2AE32CC2A1F}" dt="2022-11-24T12:17:34.736" v="4082"/>
          <ac:graphicFrameMkLst>
            <pc:docMk/>
            <pc:sldMk cId="2093512998" sldId="297"/>
            <ac:graphicFrameMk id="6" creationId="{3C4E2400-2539-4F37-8674-71CF91E3BB73}"/>
          </ac:graphicFrameMkLst>
        </pc:graphicFrameChg>
        <pc:picChg chg="add mod ord">
          <ac:chgData name="Pol Cunyat Llorens" userId="7d9d6803-1d02-4a93-b87d-f75ca3a15424" providerId="ADAL" clId="{709353A2-C05E-42B3-B188-F2AE32CC2A1F}" dt="2022-11-24T14:35:03.650" v="4275" actId="1036"/>
          <ac:picMkLst>
            <pc:docMk/>
            <pc:sldMk cId="2093512998" sldId="297"/>
            <ac:picMk id="7" creationId="{4E09E4F3-7D2E-46E7-A166-ED3BFF4EC7FC}"/>
          </ac:picMkLst>
        </pc:picChg>
        <pc:picChg chg="mod modCrop">
          <ac:chgData name="Pol Cunyat Llorens" userId="7d9d6803-1d02-4a93-b87d-f75ca3a15424" providerId="ADAL" clId="{709353A2-C05E-42B3-B188-F2AE32CC2A1F}" dt="2022-11-24T12:18:37.776" v="4138" actId="732"/>
          <ac:picMkLst>
            <pc:docMk/>
            <pc:sldMk cId="2093512998" sldId="297"/>
            <ac:picMk id="9" creationId="{5D9BC752-1D64-4DA1-8D1A-FD3785F50706}"/>
          </ac:picMkLst>
        </pc:picChg>
        <pc:picChg chg="mod ord">
          <ac:chgData name="Pol Cunyat Llorens" userId="7d9d6803-1d02-4a93-b87d-f75ca3a15424" providerId="ADAL" clId="{709353A2-C05E-42B3-B188-F2AE32CC2A1F}" dt="2022-11-24T12:17:34.732" v="4074"/>
          <ac:picMkLst>
            <pc:docMk/>
            <pc:sldMk cId="2093512998" sldId="297"/>
            <ac:picMk id="18" creationId="{0E3C2C57-38EC-4DDA-9B7D-D19E517D1DFF}"/>
          </ac:picMkLst>
        </pc:picChg>
        <pc:picChg chg="mod">
          <ac:chgData name="Pol Cunyat Llorens" userId="7d9d6803-1d02-4a93-b87d-f75ca3a15424" providerId="ADAL" clId="{709353A2-C05E-42B3-B188-F2AE32CC2A1F}" dt="2022-11-24T12:03:25.573" v="3838"/>
          <ac:picMkLst>
            <pc:docMk/>
            <pc:sldMk cId="2093512998" sldId="297"/>
            <ac:picMk id="26" creationId="{30B65DB2-15A1-4576-A29D-6B4601FF13BC}"/>
          </ac:picMkLst>
        </pc:picChg>
        <pc:picChg chg="mod ord">
          <ac:chgData name="Pol Cunyat Llorens" userId="7d9d6803-1d02-4a93-b87d-f75ca3a15424" providerId="ADAL" clId="{709353A2-C05E-42B3-B188-F2AE32CC2A1F}" dt="2022-11-24T12:17:34.730" v="4062"/>
          <ac:picMkLst>
            <pc:docMk/>
            <pc:sldMk cId="2093512998" sldId="297"/>
            <ac:picMk id="27" creationId="{2A53BEB6-1CE6-4A92-9B49-46358409426F}"/>
          </ac:picMkLst>
        </pc:picChg>
        <pc:picChg chg="mod">
          <ac:chgData name="Pol Cunyat Llorens" userId="7d9d6803-1d02-4a93-b87d-f75ca3a15424" providerId="ADAL" clId="{709353A2-C05E-42B3-B188-F2AE32CC2A1F}" dt="2022-11-24T12:03:25.573" v="3838"/>
          <ac:picMkLst>
            <pc:docMk/>
            <pc:sldMk cId="2093512998" sldId="297"/>
            <ac:picMk id="32" creationId="{46AE9A2E-A1D4-4A7A-BC2A-D98BD42E5DC0}"/>
          </ac:picMkLst>
        </pc:picChg>
        <pc:picChg chg="mod ord">
          <ac:chgData name="Pol Cunyat Llorens" userId="7d9d6803-1d02-4a93-b87d-f75ca3a15424" providerId="ADAL" clId="{709353A2-C05E-42B3-B188-F2AE32CC2A1F}" dt="2022-11-24T12:17:34.731" v="4068"/>
          <ac:picMkLst>
            <pc:docMk/>
            <pc:sldMk cId="2093512998" sldId="297"/>
            <ac:picMk id="36" creationId="{54ADBF5C-A923-498C-A503-ACFBD870CF8E}"/>
          </ac:picMkLst>
        </pc:picChg>
        <pc:picChg chg="mod">
          <ac:chgData name="Pol Cunyat Llorens" userId="7d9d6803-1d02-4a93-b87d-f75ca3a15424" providerId="ADAL" clId="{709353A2-C05E-42B3-B188-F2AE32CC2A1F}" dt="2022-11-24T12:03:25.573" v="3838"/>
          <ac:picMkLst>
            <pc:docMk/>
            <pc:sldMk cId="2093512998" sldId="297"/>
            <ac:picMk id="41" creationId="{51E89FE5-78EE-4913-9877-5BFD37FD90DD}"/>
          </ac:picMkLst>
        </pc:picChg>
      </pc:sldChg>
      <pc:sldChg chg="addSp delSp modSp add mod">
        <pc:chgData name="Pol Cunyat Llorens" userId="7d9d6803-1d02-4a93-b87d-f75ca3a15424" providerId="ADAL" clId="{709353A2-C05E-42B3-B188-F2AE32CC2A1F}" dt="2022-11-24T15:44:04.334" v="4463" actId="1036"/>
        <pc:sldMkLst>
          <pc:docMk/>
          <pc:sldMk cId="54405066" sldId="298"/>
        </pc:sldMkLst>
        <pc:spChg chg="mod">
          <ac:chgData name="Pol Cunyat Llorens" userId="7d9d6803-1d02-4a93-b87d-f75ca3a15424" providerId="ADAL" clId="{709353A2-C05E-42B3-B188-F2AE32CC2A1F}" dt="2022-11-24T15:44:04.334" v="4463" actId="1036"/>
          <ac:spMkLst>
            <pc:docMk/>
            <pc:sldMk cId="54405066" sldId="298"/>
            <ac:spMk id="2" creationId="{4FAC9A26-6F58-44C1-B369-712910BA977C}"/>
          </ac:spMkLst>
        </pc:spChg>
        <pc:spChg chg="mod">
          <ac:chgData name="Pol Cunyat Llorens" userId="7d9d6803-1d02-4a93-b87d-f75ca3a15424" providerId="ADAL" clId="{709353A2-C05E-42B3-B188-F2AE32CC2A1F}" dt="2022-11-24T15:00:11.664" v="4406" actId="1076"/>
          <ac:spMkLst>
            <pc:docMk/>
            <pc:sldMk cId="54405066" sldId="298"/>
            <ac:spMk id="4" creationId="{0713D094-5544-4038-A7B6-11AAC3006101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5" creationId="{CFD70945-C5A1-42DE-AB29-2B84D5CB0D72}"/>
          </ac:spMkLst>
        </pc:spChg>
        <pc:spChg chg="mod">
          <ac:chgData name="Pol Cunyat Llorens" userId="7d9d6803-1d02-4a93-b87d-f75ca3a15424" providerId="ADAL" clId="{709353A2-C05E-42B3-B188-F2AE32CC2A1F}" dt="2022-11-24T15:00:59.075" v="4424" actId="1036"/>
          <ac:spMkLst>
            <pc:docMk/>
            <pc:sldMk cId="54405066" sldId="298"/>
            <ac:spMk id="8" creationId="{28363F30-2EF1-46AD-9B9E-AD407D8741D2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11" creationId="{30FD1618-C12D-49CD-B225-68B5CD54BDFA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15" creationId="{33F58865-3330-42A0-97C6-415A94095A27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16" creationId="{BD8CE207-87F1-44E8-8706-BEDBEC3D9FD0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29" creationId="{07C26BF6-75BD-4E7F-8301-3BC6A4955B0B}"/>
          </ac:spMkLst>
        </pc:spChg>
        <pc:spChg chg="add mod">
          <ac:chgData name="Pol Cunyat Llorens" userId="7d9d6803-1d02-4a93-b87d-f75ca3a15424" providerId="ADAL" clId="{709353A2-C05E-42B3-B188-F2AE32CC2A1F}" dt="2022-11-24T15:01:17.143" v="4447" actId="20577"/>
          <ac:spMkLst>
            <pc:docMk/>
            <pc:sldMk cId="54405066" sldId="298"/>
            <ac:spMk id="30" creationId="{774A0DF7-BE86-48D6-9F1A-D8672B48AA30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33" creationId="{2FE7B704-02A7-4218-A9B4-B862E7324A99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37" creationId="{CE2DC969-3E8C-475F-AE65-E37EA5A376AC}"/>
          </ac:spMkLst>
        </pc:spChg>
        <pc:spChg chg="mod">
          <ac:chgData name="Pol Cunyat Llorens" userId="7d9d6803-1d02-4a93-b87d-f75ca3a15424" providerId="ADAL" clId="{709353A2-C05E-42B3-B188-F2AE32CC2A1F}" dt="2022-11-24T14:52:41.572" v="4279"/>
          <ac:spMkLst>
            <pc:docMk/>
            <pc:sldMk cId="54405066" sldId="298"/>
            <ac:spMk id="42" creationId="{D9F3B172-BCFE-4C9D-9959-CC4D97F72645}"/>
          </ac:spMkLst>
        </pc:spChg>
        <pc:grpChg chg="mod">
          <ac:chgData name="Pol Cunyat Llorens" userId="7d9d6803-1d02-4a93-b87d-f75ca3a15424" providerId="ADAL" clId="{709353A2-C05E-42B3-B188-F2AE32CC2A1F}" dt="2022-11-24T14:52:41.572" v="4279"/>
          <ac:grpSpMkLst>
            <pc:docMk/>
            <pc:sldMk cId="54405066" sldId="298"/>
            <ac:grpSpMk id="1" creationId="{00000000-0000-0000-0000-000000000000}"/>
          </ac:grpSpMkLst>
        </pc:grpChg>
        <pc:grpChg chg="mod">
          <ac:chgData name="Pol Cunyat Llorens" userId="7d9d6803-1d02-4a93-b87d-f75ca3a15424" providerId="ADAL" clId="{709353A2-C05E-42B3-B188-F2AE32CC2A1F}" dt="2022-11-24T14:52:41.572" v="4279"/>
          <ac:grpSpMkLst>
            <pc:docMk/>
            <pc:sldMk cId="54405066" sldId="298"/>
            <ac:grpSpMk id="13" creationId="{D7CFB680-CFDD-4DBB-B79C-3AF54507EF27}"/>
          </ac:grpSpMkLst>
        </pc:grpChg>
        <pc:grpChg chg="mod">
          <ac:chgData name="Pol Cunyat Llorens" userId="7d9d6803-1d02-4a93-b87d-f75ca3a15424" providerId="ADAL" clId="{709353A2-C05E-42B3-B188-F2AE32CC2A1F}" dt="2022-11-24T14:59:41.516" v="4401" actId="14100"/>
          <ac:grpSpMkLst>
            <pc:docMk/>
            <pc:sldMk cId="54405066" sldId="298"/>
            <ac:grpSpMk id="38" creationId="{89F65382-77EE-42FD-9F94-0DA3414A5DBD}"/>
          </ac:grpSpMkLst>
        </pc:grpChg>
        <pc:grpChg chg="mod">
          <ac:chgData name="Pol Cunyat Llorens" userId="7d9d6803-1d02-4a93-b87d-f75ca3a15424" providerId="ADAL" clId="{709353A2-C05E-42B3-B188-F2AE32CC2A1F}" dt="2022-11-24T14:59:46.760" v="4402" actId="14100"/>
          <ac:grpSpMkLst>
            <pc:docMk/>
            <pc:sldMk cId="54405066" sldId="298"/>
            <ac:grpSpMk id="39" creationId="{0C232038-A25B-4C4C-9C82-0B3E88B29FAA}"/>
          </ac:grpSpMkLst>
        </pc:grpChg>
        <pc:grpChg chg="mod">
          <ac:chgData name="Pol Cunyat Llorens" userId="7d9d6803-1d02-4a93-b87d-f75ca3a15424" providerId="ADAL" clId="{709353A2-C05E-42B3-B188-F2AE32CC2A1F}" dt="2022-11-24T15:02:35.251" v="4449" actId="1076"/>
          <ac:grpSpMkLst>
            <pc:docMk/>
            <pc:sldMk cId="54405066" sldId="298"/>
            <ac:grpSpMk id="43" creationId="{4D001F08-6394-4654-9BA4-46054DBC3DAC}"/>
          </ac:grpSpMkLst>
        </pc:grpChg>
        <pc:graphicFrameChg chg="mod">
          <ac:chgData name="Pol Cunyat Llorens" userId="7d9d6803-1d02-4a93-b87d-f75ca3a15424" providerId="ADAL" clId="{709353A2-C05E-42B3-B188-F2AE32CC2A1F}" dt="2022-11-24T14:52:41.572" v="4279"/>
          <ac:graphicFrameMkLst>
            <pc:docMk/>
            <pc:sldMk cId="54405066" sldId="298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709353A2-C05E-42B3-B188-F2AE32CC2A1F}" dt="2022-11-24T14:56:51.681" v="4296" actId="478"/>
          <ac:picMkLst>
            <pc:docMk/>
            <pc:sldMk cId="54405066" sldId="298"/>
            <ac:picMk id="7" creationId="{4E09E4F3-7D2E-46E7-A166-ED3BFF4EC7FC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9" creationId="{5D9BC752-1D64-4DA1-8D1A-FD3785F50706}"/>
          </ac:picMkLst>
        </pc:picChg>
        <pc:picChg chg="mod modCrop">
          <ac:chgData name="Pol Cunyat Llorens" userId="7d9d6803-1d02-4a93-b87d-f75ca3a15424" providerId="ADAL" clId="{709353A2-C05E-42B3-B188-F2AE32CC2A1F}" dt="2022-11-24T14:59:36.927" v="4400" actId="14100"/>
          <ac:picMkLst>
            <pc:docMk/>
            <pc:sldMk cId="54405066" sldId="298"/>
            <ac:picMk id="18" creationId="{0E3C2C57-38EC-4DDA-9B7D-D19E517D1DFF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26" creationId="{30B65DB2-15A1-4576-A29D-6B4601FF13BC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27" creationId="{2A53BEB6-1CE6-4A92-9B49-46358409426F}"/>
          </ac:picMkLst>
        </pc:picChg>
        <pc:picChg chg="add mod">
          <ac:chgData name="Pol Cunyat Llorens" userId="7d9d6803-1d02-4a93-b87d-f75ca3a15424" providerId="ADAL" clId="{709353A2-C05E-42B3-B188-F2AE32CC2A1F}" dt="2022-11-24T15:00:45.082" v="4417"/>
          <ac:picMkLst>
            <pc:docMk/>
            <pc:sldMk cId="54405066" sldId="298"/>
            <ac:picMk id="28" creationId="{1C6BDBC2-D0B4-430F-905A-A0EE34DD3DDB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32" creationId="{46AE9A2E-A1D4-4A7A-BC2A-D98BD42E5DC0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36" creationId="{54ADBF5C-A923-498C-A503-ACFBD870CF8E}"/>
          </ac:picMkLst>
        </pc:picChg>
        <pc:picChg chg="mod">
          <ac:chgData name="Pol Cunyat Llorens" userId="7d9d6803-1d02-4a93-b87d-f75ca3a15424" providerId="ADAL" clId="{709353A2-C05E-42B3-B188-F2AE32CC2A1F}" dt="2022-11-24T14:52:41.572" v="4279"/>
          <ac:picMkLst>
            <pc:docMk/>
            <pc:sldMk cId="54405066" sldId="298"/>
            <ac:picMk id="41" creationId="{51E89FE5-78EE-4913-9877-5BFD37FD90DD}"/>
          </ac:picMkLst>
        </pc:picChg>
        <pc:picChg chg="add del mod">
          <ac:chgData name="Pol Cunyat Llorens" userId="7d9d6803-1d02-4a93-b87d-f75ca3a15424" providerId="ADAL" clId="{709353A2-C05E-42B3-B188-F2AE32CC2A1F}" dt="2022-11-24T15:00:41.973" v="4415" actId="478"/>
          <ac:picMkLst>
            <pc:docMk/>
            <pc:sldMk cId="54405066" sldId="298"/>
            <ac:picMk id="2052" creationId="{954EBEAD-BA29-4D34-83A6-76C0B053A8E0}"/>
          </ac:picMkLst>
        </pc:picChg>
        <pc:picChg chg="add mod">
          <ac:chgData name="Pol Cunyat Llorens" userId="7d9d6803-1d02-4a93-b87d-f75ca3a15424" providerId="ADAL" clId="{709353A2-C05E-42B3-B188-F2AE32CC2A1F}" dt="2022-11-24T15:00:35.807" v="4413" actId="1076"/>
          <ac:picMkLst>
            <pc:docMk/>
            <pc:sldMk cId="54405066" sldId="298"/>
            <ac:picMk id="2054" creationId="{4C61B715-E467-4E5A-BB86-BDED982289CC}"/>
          </ac:picMkLst>
        </pc:picChg>
      </pc:sldChg>
    </pc:docChg>
  </pc:docChgLst>
  <pc:docChgLst>
    <pc:chgData name="Pol Cunyat Llorens" userId="7d9d6803-1d02-4a93-b87d-f75ca3a15424" providerId="ADAL" clId="{DE0C7E4A-E8D8-4CE7-A8B3-2AF426F55426}"/>
    <pc:docChg chg="undo custSel addSld delSld modSld sldOrd modMainMaster modNotesMaster">
      <pc:chgData name="Pol Cunyat Llorens" userId="7d9d6803-1d02-4a93-b87d-f75ca3a15424" providerId="ADAL" clId="{DE0C7E4A-E8D8-4CE7-A8B3-2AF426F55426}" dt="2022-11-24T08:08:48.283" v="5444" actId="1076"/>
      <pc:docMkLst>
        <pc:docMk/>
      </pc:docMkLst>
      <pc:sldChg chg="addSp delSp modSp mod modClrScheme chgLayout modNotes">
        <pc:chgData name="Pol Cunyat Llorens" userId="7d9d6803-1d02-4a93-b87d-f75ca3a15424" providerId="ADAL" clId="{DE0C7E4A-E8D8-4CE7-A8B3-2AF426F55426}" dt="2022-11-23T18:55:37.110" v="4077" actId="20577"/>
        <pc:sldMkLst>
          <pc:docMk/>
          <pc:sldMk cId="920077149" sldId="256"/>
        </pc:sldMkLst>
        <pc:spChg chg="del mod ord">
          <ac:chgData name="Pol Cunyat Llorens" userId="7d9d6803-1d02-4a93-b87d-f75ca3a15424" providerId="ADAL" clId="{DE0C7E4A-E8D8-4CE7-A8B3-2AF426F55426}" dt="2022-11-23T14:55:20.707" v="1"/>
          <ac:spMkLst>
            <pc:docMk/>
            <pc:sldMk cId="920077149" sldId="256"/>
            <ac:spMk id="2" creationId="{60E5CCFF-8380-49EC-9544-35F6DFCAE3FA}"/>
          </ac:spMkLst>
        </pc:spChg>
        <pc:spChg chg="del mod ord">
          <ac:chgData name="Pol Cunyat Llorens" userId="7d9d6803-1d02-4a93-b87d-f75ca3a15424" providerId="ADAL" clId="{DE0C7E4A-E8D8-4CE7-A8B3-2AF426F55426}" dt="2022-11-23T14:55:20.707" v="1"/>
          <ac:spMkLst>
            <pc:docMk/>
            <pc:sldMk cId="920077149" sldId="256"/>
            <ac:spMk id="3" creationId="{DA738F32-5499-4402-BAD7-3DF578FD5837}"/>
          </ac:spMkLst>
        </pc:spChg>
        <pc:spChg chg="add del mod ord">
          <ac:chgData name="Pol Cunyat Llorens" userId="7d9d6803-1d02-4a93-b87d-f75ca3a15424" providerId="ADAL" clId="{DE0C7E4A-E8D8-4CE7-A8B3-2AF426F55426}" dt="2022-11-23T16:18:32.322" v="93" actId="478"/>
          <ac:spMkLst>
            <pc:docMk/>
            <pc:sldMk cId="920077149" sldId="256"/>
            <ac:spMk id="4" creationId="{6E3154FC-C702-40E5-9BFD-19B947323F6A}"/>
          </ac:spMkLst>
        </pc:spChg>
        <pc:spChg chg="add del mod ord">
          <ac:chgData name="Pol Cunyat Llorens" userId="7d9d6803-1d02-4a93-b87d-f75ca3a15424" providerId="ADAL" clId="{DE0C7E4A-E8D8-4CE7-A8B3-2AF426F55426}" dt="2022-11-23T16:18:32.322" v="93" actId="478"/>
          <ac:spMkLst>
            <pc:docMk/>
            <pc:sldMk cId="920077149" sldId="256"/>
            <ac:spMk id="5" creationId="{3F0ED943-E780-4A34-8817-0F2891DF325D}"/>
          </ac:spMkLst>
        </pc:spChg>
        <pc:spChg chg="add del mod">
          <ac:chgData name="Pol Cunyat Llorens" userId="7d9d6803-1d02-4a93-b87d-f75ca3a15424" providerId="ADAL" clId="{DE0C7E4A-E8D8-4CE7-A8B3-2AF426F55426}" dt="2022-11-23T16:44:47.986" v="610" actId="478"/>
          <ac:spMkLst>
            <pc:docMk/>
            <pc:sldMk cId="920077149" sldId="256"/>
            <ac:spMk id="7" creationId="{7CB2E8BB-5530-4446-AE2D-5EE1DF0672C8}"/>
          </ac:spMkLst>
        </pc:spChg>
        <pc:spChg chg="add del mod">
          <ac:chgData name="Pol Cunyat Llorens" userId="7d9d6803-1d02-4a93-b87d-f75ca3a15424" providerId="ADAL" clId="{DE0C7E4A-E8D8-4CE7-A8B3-2AF426F55426}" dt="2022-11-23T16:44:47.986" v="610" actId="478"/>
          <ac:spMkLst>
            <pc:docMk/>
            <pc:sldMk cId="920077149" sldId="256"/>
            <ac:spMk id="8" creationId="{3003573E-8601-47B0-A917-65F6BAABF2F7}"/>
          </ac:spMkLst>
        </pc:spChg>
        <pc:graphicFrameChg chg="add mod ord modVis">
          <ac:chgData name="Pol Cunyat Llorens" userId="7d9d6803-1d02-4a93-b87d-f75ca3a15424" providerId="ADAL" clId="{DE0C7E4A-E8D8-4CE7-A8B3-2AF426F55426}" dt="2022-11-23T16:18:32.832" v="95"/>
          <ac:graphicFrameMkLst>
            <pc:docMk/>
            <pc:sldMk cId="920077149" sldId="256"/>
            <ac:graphicFrameMk id="6" creationId="{3C4E2400-2539-4F37-8674-71CF91E3BB73}"/>
          </ac:graphicFrameMkLst>
        </pc:graphicFrameChg>
      </pc:sldChg>
      <pc:sldChg chg="addSp delSp modSp add del mod">
        <pc:chgData name="Pol Cunyat Llorens" userId="7d9d6803-1d02-4a93-b87d-f75ca3a15424" providerId="ADAL" clId="{DE0C7E4A-E8D8-4CE7-A8B3-2AF426F55426}" dt="2022-11-23T16:45:54.729" v="615" actId="47"/>
        <pc:sldMkLst>
          <pc:docMk/>
          <pc:sldMk cId="4071543549" sldId="257"/>
        </pc:sldMkLst>
        <pc:spChg chg="del mod">
          <ac:chgData name="Pol Cunyat Llorens" userId="7d9d6803-1d02-4a93-b87d-f75ca3a15424" providerId="ADAL" clId="{DE0C7E4A-E8D8-4CE7-A8B3-2AF426F55426}" dt="2022-11-23T14:56:05.768" v="85" actId="478"/>
          <ac:spMkLst>
            <pc:docMk/>
            <pc:sldMk cId="4071543549" sldId="257"/>
            <ac:spMk id="4" creationId="{6E3154FC-C702-40E5-9BFD-19B947323F6A}"/>
          </ac:spMkLst>
        </pc:spChg>
        <pc:spChg chg="del mod">
          <ac:chgData name="Pol Cunyat Llorens" userId="7d9d6803-1d02-4a93-b87d-f75ca3a15424" providerId="ADAL" clId="{DE0C7E4A-E8D8-4CE7-A8B3-2AF426F55426}" dt="2022-11-23T14:56:05.768" v="85" actId="478"/>
          <ac:spMkLst>
            <pc:docMk/>
            <pc:sldMk cId="4071543549" sldId="257"/>
            <ac:spMk id="5" creationId="{3F0ED943-E780-4A34-8817-0F2891DF325D}"/>
          </ac:spMkLst>
        </pc:spChg>
        <pc:spChg chg="add mod">
          <ac:chgData name="Pol Cunyat Llorens" userId="7d9d6803-1d02-4a93-b87d-f75ca3a15424" providerId="ADAL" clId="{DE0C7E4A-E8D8-4CE7-A8B3-2AF426F55426}" dt="2022-11-23T14:56:06.175" v="86"/>
          <ac:spMkLst>
            <pc:docMk/>
            <pc:sldMk cId="4071543549" sldId="257"/>
            <ac:spMk id="7" creationId="{3932FFCE-3043-442F-AEF3-AEAA7463AF93}"/>
          </ac:spMkLst>
        </pc:spChg>
        <pc:grpChg chg="mod">
          <ac:chgData name="Pol Cunyat Llorens" userId="7d9d6803-1d02-4a93-b87d-f75ca3a15424" providerId="ADAL" clId="{DE0C7E4A-E8D8-4CE7-A8B3-2AF426F55426}" dt="2022-11-23T14:55:28.336" v="73"/>
          <ac:grpSpMkLst>
            <pc:docMk/>
            <pc:sldMk cId="4071543549" sldId="257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6:06.277" v="88"/>
          <ac:graphicFrameMkLst>
            <pc:docMk/>
            <pc:sldMk cId="4071543549" sldId="257"/>
            <ac:graphicFrameMk id="6" creationId="{3C4E2400-2539-4F37-8674-71CF91E3BB73}"/>
          </ac:graphicFrameMkLst>
        </pc:graphicFrameChg>
      </pc:sldChg>
      <pc:sldChg chg="modSp add del ord">
        <pc:chgData name="Pol Cunyat Llorens" userId="7d9d6803-1d02-4a93-b87d-f75ca3a15424" providerId="ADAL" clId="{DE0C7E4A-E8D8-4CE7-A8B3-2AF426F55426}" dt="2022-11-23T14:56:12.187" v="90" actId="47"/>
        <pc:sldMkLst>
          <pc:docMk/>
          <pc:sldMk cId="2605218639" sldId="258"/>
        </pc:sldMkLst>
        <pc:spChg chg="mod">
          <ac:chgData name="Pol Cunyat Llorens" userId="7d9d6803-1d02-4a93-b87d-f75ca3a15424" providerId="ADAL" clId="{DE0C7E4A-E8D8-4CE7-A8B3-2AF426F55426}" dt="2022-11-23T14:55:28.480" v="75"/>
          <ac:spMkLst>
            <pc:docMk/>
            <pc:sldMk cId="2605218639" sldId="258"/>
            <ac:spMk id="4" creationId="{6E3154FC-C702-40E5-9BFD-19B947323F6A}"/>
          </ac:spMkLst>
        </pc:spChg>
        <pc:spChg chg="mod">
          <ac:chgData name="Pol Cunyat Llorens" userId="7d9d6803-1d02-4a93-b87d-f75ca3a15424" providerId="ADAL" clId="{DE0C7E4A-E8D8-4CE7-A8B3-2AF426F55426}" dt="2022-11-23T14:55:28.480" v="75"/>
          <ac:spMkLst>
            <pc:docMk/>
            <pc:sldMk cId="2605218639" sldId="258"/>
            <ac:spMk id="5" creationId="{3F0ED943-E780-4A34-8817-0F2891DF325D}"/>
          </ac:spMkLst>
        </pc:spChg>
        <pc:grpChg chg="mod">
          <ac:chgData name="Pol Cunyat Llorens" userId="7d9d6803-1d02-4a93-b87d-f75ca3a15424" providerId="ADAL" clId="{DE0C7E4A-E8D8-4CE7-A8B3-2AF426F55426}" dt="2022-11-23T14:55:28.480" v="75"/>
          <ac:grpSpMkLst>
            <pc:docMk/>
            <pc:sldMk cId="2605218639" sldId="258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5:28.480" v="75"/>
          <ac:graphicFrameMkLst>
            <pc:docMk/>
            <pc:sldMk cId="2605218639" sldId="258"/>
            <ac:graphicFrameMk id="6" creationId="{3C4E2400-2539-4F37-8674-71CF91E3BB73}"/>
          </ac:graphicFrameMkLst>
        </pc:graphicFrameChg>
      </pc:sldChg>
      <pc:sldChg chg="addSp delSp modSp add del mod">
        <pc:chgData name="Pol Cunyat Llorens" userId="7d9d6803-1d02-4a93-b87d-f75ca3a15424" providerId="ADAL" clId="{DE0C7E4A-E8D8-4CE7-A8B3-2AF426F55426}" dt="2022-11-23T17:55:16.771" v="1647" actId="47"/>
        <pc:sldMkLst>
          <pc:docMk/>
          <pc:sldMk cId="3621846434" sldId="258"/>
        </pc:sldMkLst>
        <pc:spChg chg="add mod ord topLvl">
          <ac:chgData name="Pol Cunyat Llorens" userId="7d9d6803-1d02-4a93-b87d-f75ca3a15424" providerId="ADAL" clId="{DE0C7E4A-E8D8-4CE7-A8B3-2AF426F55426}" dt="2022-11-23T17:04:01.954" v="1235" actId="20577"/>
          <ac:spMkLst>
            <pc:docMk/>
            <pc:sldMk cId="3621846434" sldId="258"/>
            <ac:spMk id="2" creationId="{BF9625A9-3881-40EF-9963-87439A3E152D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3" creationId="{B3498ED1-1AF4-44F8-9B31-57A988170717}"/>
          </ac:spMkLst>
        </pc:spChg>
        <pc:spChg chg="add del mod ord">
          <ac:chgData name="Pol Cunyat Llorens" userId="7d9d6803-1d02-4a93-b87d-f75ca3a15424" providerId="ADAL" clId="{DE0C7E4A-E8D8-4CE7-A8B3-2AF426F55426}" dt="2022-11-23T16:57:54.861" v="1026" actId="478"/>
          <ac:spMkLst>
            <pc:docMk/>
            <pc:sldMk cId="3621846434" sldId="258"/>
            <ac:spMk id="4" creationId="{0713D094-5544-4038-A7B6-11AAC3006101}"/>
          </ac:spMkLst>
        </pc:spChg>
        <pc:spChg chg="add del mod ord">
          <ac:chgData name="Pol Cunyat Llorens" userId="7d9d6803-1d02-4a93-b87d-f75ca3a15424" providerId="ADAL" clId="{DE0C7E4A-E8D8-4CE7-A8B3-2AF426F55426}" dt="2022-11-23T16:58:07.461" v="1034" actId="2085"/>
          <ac:spMkLst>
            <pc:docMk/>
            <pc:sldMk cId="3621846434" sldId="258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DE0C7E4A-E8D8-4CE7-A8B3-2AF426F55426}" dt="2022-11-23T16:45:09.758" v="611" actId="478"/>
          <ac:spMkLst>
            <pc:docMk/>
            <pc:sldMk cId="3621846434" sldId="258"/>
            <ac:spMk id="7" creationId="{7CB2E8BB-5530-4446-AE2D-5EE1DF0672C8}"/>
          </ac:spMkLst>
        </pc:spChg>
        <pc:spChg chg="add mod ord topLvl">
          <ac:chgData name="Pol Cunyat Llorens" userId="7d9d6803-1d02-4a93-b87d-f75ca3a15424" providerId="ADAL" clId="{DE0C7E4A-E8D8-4CE7-A8B3-2AF426F55426}" dt="2022-11-23T17:03:54.816" v="1216" actId="20577"/>
          <ac:spMkLst>
            <pc:docMk/>
            <pc:sldMk cId="3621846434" sldId="258"/>
            <ac:spMk id="8" creationId="{EB0ED3C1-CE79-4BA7-901A-8FCA9F5CF627}"/>
          </ac:spMkLst>
        </pc:spChg>
        <pc:spChg chg="add mod ord topLvl">
          <ac:chgData name="Pol Cunyat Llorens" userId="7d9d6803-1d02-4a93-b87d-f75ca3a15424" providerId="ADAL" clId="{DE0C7E4A-E8D8-4CE7-A8B3-2AF426F55426}" dt="2022-11-23T17:03:48.797" v="1192" actId="20577"/>
          <ac:spMkLst>
            <pc:docMk/>
            <pc:sldMk cId="3621846434" sldId="258"/>
            <ac:spMk id="9" creationId="{A1ECF1AE-AD9F-490F-A87F-41E553B2D773}"/>
          </ac:spMkLst>
        </pc:spChg>
        <pc:spChg chg="add mod ord topLvl">
          <ac:chgData name="Pol Cunyat Llorens" userId="7d9d6803-1d02-4a93-b87d-f75ca3a15424" providerId="ADAL" clId="{DE0C7E4A-E8D8-4CE7-A8B3-2AF426F55426}" dt="2022-11-23T17:03:28.093" v="1121" actId="20577"/>
          <ac:spMkLst>
            <pc:docMk/>
            <pc:sldMk cId="3621846434" sldId="258"/>
            <ac:spMk id="10" creationId="{CC06FDDC-3AFE-46BB-A11E-D5052C877A2C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11" creationId="{218831C7-EAF4-4F7F-A0A3-6F11C779C467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12" creationId="{BD23D77A-C2C4-4908-BF83-C34AF3DF6629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13" creationId="{1663EC59-A97D-48AB-95CA-489B05B19A6C}"/>
          </ac:spMkLst>
        </pc:spChg>
        <pc:spChg chg="add mod ord topLvl">
          <ac:chgData name="Pol Cunyat Llorens" userId="7d9d6803-1d02-4a93-b87d-f75ca3a15424" providerId="ADAL" clId="{DE0C7E4A-E8D8-4CE7-A8B3-2AF426F55426}" dt="2022-11-23T17:03:41.894" v="1168" actId="20577"/>
          <ac:spMkLst>
            <pc:docMk/>
            <pc:sldMk cId="3621846434" sldId="258"/>
            <ac:spMk id="14" creationId="{C3F2BC44-DC60-40F0-B9CC-158F91A88998}"/>
          </ac:spMkLst>
        </pc:spChg>
        <pc:spChg chg="add mod ord topLvl">
          <ac:chgData name="Pol Cunyat Llorens" userId="7d9d6803-1d02-4a93-b87d-f75ca3a15424" providerId="ADAL" clId="{DE0C7E4A-E8D8-4CE7-A8B3-2AF426F55426}" dt="2022-11-23T16:56:44.973" v="1013" actId="165"/>
          <ac:spMkLst>
            <pc:docMk/>
            <pc:sldMk cId="3621846434" sldId="258"/>
            <ac:spMk id="15" creationId="{F9242B69-1198-4D48-9F56-29D195B89A0E}"/>
          </ac:spMkLst>
        </pc:spChg>
        <pc:spChg chg="add del mod">
          <ac:chgData name="Pol Cunyat Llorens" userId="7d9d6803-1d02-4a93-b87d-f75ca3a15424" providerId="ADAL" clId="{DE0C7E4A-E8D8-4CE7-A8B3-2AF426F55426}" dt="2022-11-23T16:59:34.793" v="1039" actId="478"/>
          <ac:spMkLst>
            <pc:docMk/>
            <pc:sldMk cId="3621846434" sldId="258"/>
            <ac:spMk id="17" creationId="{02F0EB6F-8980-4958-9F40-F97ECE3CB087}"/>
          </ac:spMkLst>
        </pc:spChg>
        <pc:spChg chg="add mod">
          <ac:chgData name="Pol Cunyat Llorens" userId="7d9d6803-1d02-4a93-b87d-f75ca3a15424" providerId="ADAL" clId="{DE0C7E4A-E8D8-4CE7-A8B3-2AF426F55426}" dt="2022-11-23T17:02:24.872" v="1091" actId="552"/>
          <ac:spMkLst>
            <pc:docMk/>
            <pc:sldMk cId="3621846434" sldId="258"/>
            <ac:spMk id="21" creationId="{AEDA87E5-1597-4181-94E6-6AB28DF11CC2}"/>
          </ac:spMkLst>
        </pc:spChg>
        <pc:spChg chg="add mod">
          <ac:chgData name="Pol Cunyat Llorens" userId="7d9d6803-1d02-4a93-b87d-f75ca3a15424" providerId="ADAL" clId="{DE0C7E4A-E8D8-4CE7-A8B3-2AF426F55426}" dt="2022-11-23T17:02:33.314" v="1092" actId="14100"/>
          <ac:spMkLst>
            <pc:docMk/>
            <pc:sldMk cId="3621846434" sldId="258"/>
            <ac:spMk id="22" creationId="{FF3AEA6B-2775-4ED0-A23D-75BB65BAE81B}"/>
          </ac:spMkLst>
        </pc:spChg>
        <pc:spChg chg="add mod">
          <ac:chgData name="Pol Cunyat Llorens" userId="7d9d6803-1d02-4a93-b87d-f75ca3a15424" providerId="ADAL" clId="{DE0C7E4A-E8D8-4CE7-A8B3-2AF426F55426}" dt="2022-11-23T17:02:24.872" v="1091" actId="552"/>
          <ac:spMkLst>
            <pc:docMk/>
            <pc:sldMk cId="3621846434" sldId="258"/>
            <ac:spMk id="23" creationId="{EA859A36-6227-41DD-A656-4858101C76BF}"/>
          </ac:spMkLst>
        </pc:spChg>
        <pc:grpChg chg="mod">
          <ac:chgData name="Pol Cunyat Llorens" userId="7d9d6803-1d02-4a93-b87d-f75ca3a15424" providerId="ADAL" clId="{DE0C7E4A-E8D8-4CE7-A8B3-2AF426F55426}" dt="2022-11-23T16:19:42.341" v="97"/>
          <ac:grpSpMkLst>
            <pc:docMk/>
            <pc:sldMk cId="3621846434" sldId="258"/>
            <ac:grpSpMk id="1" creationId="{00000000-0000-0000-0000-000000000000}"/>
          </ac:grpSpMkLst>
        </pc:grpChg>
        <pc:grpChg chg="add del mod">
          <ac:chgData name="Pol Cunyat Llorens" userId="7d9d6803-1d02-4a93-b87d-f75ca3a15424" providerId="ADAL" clId="{DE0C7E4A-E8D8-4CE7-A8B3-2AF426F55426}" dt="2022-11-23T16:56:44.973" v="1013" actId="165"/>
          <ac:grpSpMkLst>
            <pc:docMk/>
            <pc:sldMk cId="3621846434" sldId="258"/>
            <ac:grpSpMk id="16" creationId="{E4EE46B1-528B-47C8-B62D-99C36FD76759}"/>
          </ac:grpSpMkLst>
        </pc:grpChg>
        <pc:graphicFrameChg chg="mod">
          <ac:chgData name="Pol Cunyat Llorens" userId="7d9d6803-1d02-4a93-b87d-f75ca3a15424" providerId="ADAL" clId="{DE0C7E4A-E8D8-4CE7-A8B3-2AF426F55426}" dt="2022-11-23T16:53:31.402" v="948"/>
          <ac:graphicFrameMkLst>
            <pc:docMk/>
            <pc:sldMk cId="3621846434" sldId="258"/>
            <ac:graphicFrameMk id="6" creationId="{3C4E2400-2539-4F37-8674-71CF91E3BB73}"/>
          </ac:graphicFrameMkLst>
        </pc:graphicFrameChg>
        <pc:picChg chg="add mod">
          <ac:chgData name="Pol Cunyat Llorens" userId="7d9d6803-1d02-4a93-b87d-f75ca3a15424" providerId="ADAL" clId="{DE0C7E4A-E8D8-4CE7-A8B3-2AF426F55426}" dt="2022-11-23T17:03:06.248" v="1102"/>
          <ac:picMkLst>
            <pc:docMk/>
            <pc:sldMk cId="3621846434" sldId="258"/>
            <ac:picMk id="18" creationId="{AE7DFE16-22E2-4144-A621-2EEF51E62D42}"/>
          </ac:picMkLst>
        </pc:picChg>
        <pc:picChg chg="add mod">
          <ac:chgData name="Pol Cunyat Llorens" userId="7d9d6803-1d02-4a93-b87d-f75ca3a15424" providerId="ADAL" clId="{DE0C7E4A-E8D8-4CE7-A8B3-2AF426F55426}" dt="2022-11-23T17:03:06.247" v="1100"/>
          <ac:picMkLst>
            <pc:docMk/>
            <pc:sldMk cId="3621846434" sldId="258"/>
            <ac:picMk id="19" creationId="{E488BA97-A6E1-458D-A716-35A6BF71FA6A}"/>
          </ac:picMkLst>
        </pc:picChg>
        <pc:picChg chg="add mod">
          <ac:chgData name="Pol Cunyat Llorens" userId="7d9d6803-1d02-4a93-b87d-f75ca3a15424" providerId="ADAL" clId="{DE0C7E4A-E8D8-4CE7-A8B3-2AF426F55426}" dt="2022-11-23T17:03:02.908" v="1098" actId="1076"/>
          <ac:picMkLst>
            <pc:docMk/>
            <pc:sldMk cId="3621846434" sldId="258"/>
            <ac:picMk id="20" creationId="{62D34AF6-FAAB-441E-91E0-7675C573B017}"/>
          </ac:picMkLst>
        </pc:picChg>
      </pc:sldChg>
      <pc:sldChg chg="modSp add del">
        <pc:chgData name="Pol Cunyat Llorens" userId="7d9d6803-1d02-4a93-b87d-f75ca3a15424" providerId="ADAL" clId="{DE0C7E4A-E8D8-4CE7-A8B3-2AF426F55426}" dt="2022-11-23T14:56:12.187" v="90" actId="47"/>
        <pc:sldMkLst>
          <pc:docMk/>
          <pc:sldMk cId="325746029" sldId="259"/>
        </pc:sldMkLst>
        <pc:spChg chg="mod">
          <ac:chgData name="Pol Cunyat Llorens" userId="7d9d6803-1d02-4a93-b87d-f75ca3a15424" providerId="ADAL" clId="{DE0C7E4A-E8D8-4CE7-A8B3-2AF426F55426}" dt="2022-11-23T14:55:28.613" v="77"/>
          <ac:spMkLst>
            <pc:docMk/>
            <pc:sldMk cId="325746029" sldId="259"/>
            <ac:spMk id="4" creationId="{6E3154FC-C702-40E5-9BFD-19B947323F6A}"/>
          </ac:spMkLst>
        </pc:spChg>
        <pc:spChg chg="mod">
          <ac:chgData name="Pol Cunyat Llorens" userId="7d9d6803-1d02-4a93-b87d-f75ca3a15424" providerId="ADAL" clId="{DE0C7E4A-E8D8-4CE7-A8B3-2AF426F55426}" dt="2022-11-23T14:55:28.613" v="77"/>
          <ac:spMkLst>
            <pc:docMk/>
            <pc:sldMk cId="325746029" sldId="259"/>
            <ac:spMk id="5" creationId="{3F0ED943-E780-4A34-8817-0F2891DF325D}"/>
          </ac:spMkLst>
        </pc:spChg>
        <pc:grpChg chg="mod">
          <ac:chgData name="Pol Cunyat Llorens" userId="7d9d6803-1d02-4a93-b87d-f75ca3a15424" providerId="ADAL" clId="{DE0C7E4A-E8D8-4CE7-A8B3-2AF426F55426}" dt="2022-11-23T14:55:28.613" v="77"/>
          <ac:grpSpMkLst>
            <pc:docMk/>
            <pc:sldMk cId="325746029" sldId="25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5:28.613" v="77"/>
          <ac:graphicFrameMkLst>
            <pc:docMk/>
            <pc:sldMk cId="325746029" sldId="259"/>
            <ac:graphicFrameMk id="6" creationId="{3C4E2400-2539-4F37-8674-71CF91E3BB73}"/>
          </ac:graphicFrameMkLst>
        </pc:graphicFrameChg>
      </pc:sldChg>
      <pc:sldChg chg="addSp delSp modSp add del mod ord">
        <pc:chgData name="Pol Cunyat Llorens" userId="7d9d6803-1d02-4a93-b87d-f75ca3a15424" providerId="ADAL" clId="{DE0C7E4A-E8D8-4CE7-A8B3-2AF426F55426}" dt="2022-11-23T18:38:50.842" v="2536" actId="47"/>
        <pc:sldMkLst>
          <pc:docMk/>
          <pc:sldMk cId="2826987522" sldId="259"/>
        </pc:sldMkLst>
        <pc:spChg chg="add mod">
          <ac:chgData name="Pol Cunyat Llorens" userId="7d9d6803-1d02-4a93-b87d-f75ca3a15424" providerId="ADAL" clId="{DE0C7E4A-E8D8-4CE7-A8B3-2AF426F55426}" dt="2022-11-23T18:21:03.508" v="2131" actId="20577"/>
          <ac:spMkLst>
            <pc:docMk/>
            <pc:sldMk cId="2826987522" sldId="259"/>
            <ac:spMk id="2" creationId="{854CB30B-3674-4BC2-8980-37B4FC41DAC8}"/>
          </ac:spMkLst>
        </pc:spChg>
        <pc:spChg chg="mod">
          <ac:chgData name="Pol Cunyat Llorens" userId="7d9d6803-1d02-4a93-b87d-f75ca3a15424" providerId="ADAL" clId="{DE0C7E4A-E8D8-4CE7-A8B3-2AF426F55426}" dt="2022-11-23T16:46:08.777" v="617"/>
          <ac:spMkLst>
            <pc:docMk/>
            <pc:sldMk cId="2826987522" sldId="259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04:40.637" v="1699" actId="20577"/>
          <ac:spMkLst>
            <pc:docMk/>
            <pc:sldMk cId="2826987522" sldId="259"/>
            <ac:spMk id="5" creationId="{CFD70945-C5A1-42DE-AB29-2B84D5CB0D72}"/>
          </ac:spMkLst>
        </pc:spChg>
        <pc:spChg chg="add del mod">
          <ac:chgData name="Pol Cunyat Llorens" userId="7d9d6803-1d02-4a93-b87d-f75ca3a15424" providerId="ADAL" clId="{DE0C7E4A-E8D8-4CE7-A8B3-2AF426F55426}" dt="2022-11-23T18:18:19.224" v="2071" actId="478"/>
          <ac:spMkLst>
            <pc:docMk/>
            <pc:sldMk cId="2826987522" sldId="259"/>
            <ac:spMk id="7" creationId="{05B72AA6-9783-4863-A1B2-E663D77A197B}"/>
          </ac:spMkLst>
        </pc:spChg>
        <pc:grpChg chg="mod">
          <ac:chgData name="Pol Cunyat Llorens" userId="7d9d6803-1d02-4a93-b87d-f75ca3a15424" providerId="ADAL" clId="{DE0C7E4A-E8D8-4CE7-A8B3-2AF426F55426}" dt="2022-11-23T16:46:08.777" v="617"/>
          <ac:grpSpMkLst>
            <pc:docMk/>
            <pc:sldMk cId="2826987522" sldId="25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6:46:08.777" v="617"/>
          <ac:graphicFrameMkLst>
            <pc:docMk/>
            <pc:sldMk cId="2826987522" sldId="259"/>
            <ac:graphicFrameMk id="6" creationId="{3C4E2400-2539-4F37-8674-71CF91E3BB73}"/>
          </ac:graphicFrameMkLst>
        </pc:graphicFrameChg>
      </pc:sldChg>
      <pc:sldChg chg="modSp add del mod modNotes">
        <pc:chgData name="Pol Cunyat Llorens" userId="7d9d6803-1d02-4a93-b87d-f75ca3a15424" providerId="ADAL" clId="{DE0C7E4A-E8D8-4CE7-A8B3-2AF426F55426}" dt="2022-11-23T19:07:14.522" v="5135" actId="47"/>
        <pc:sldMkLst>
          <pc:docMk/>
          <pc:sldMk cId="1648860784" sldId="260"/>
        </pc:sldMkLst>
        <pc:spChg chg="mod">
          <ac:chgData name="Pol Cunyat Llorens" userId="7d9d6803-1d02-4a93-b87d-f75ca3a15424" providerId="ADAL" clId="{DE0C7E4A-E8D8-4CE7-A8B3-2AF426F55426}" dt="2022-11-23T18:55:36.913" v="3946" actId="20577"/>
          <ac:spMkLst>
            <pc:docMk/>
            <pc:sldMk cId="1648860784" sldId="260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55:36.915" v="3948" actId="947"/>
          <ac:spMkLst>
            <pc:docMk/>
            <pc:sldMk cId="1648860784" sldId="260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7:52.937" v="1265"/>
          <ac:grpSpMkLst>
            <pc:docMk/>
            <pc:sldMk cId="1648860784" sldId="26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46" v="4648"/>
          <ac:graphicFrameMkLst>
            <pc:docMk/>
            <pc:sldMk cId="1648860784" sldId="260"/>
            <ac:graphicFrameMk id="6" creationId="{3C4E2400-2539-4F37-8674-71CF91E3BB73}"/>
          </ac:graphicFrameMkLst>
        </pc:graphicFrameChg>
      </pc:sldChg>
      <pc:sldChg chg="modSp add del">
        <pc:chgData name="Pol Cunyat Llorens" userId="7d9d6803-1d02-4a93-b87d-f75ca3a15424" providerId="ADAL" clId="{DE0C7E4A-E8D8-4CE7-A8B3-2AF426F55426}" dt="2022-11-23T14:56:12.187" v="90" actId="47"/>
        <pc:sldMkLst>
          <pc:docMk/>
          <pc:sldMk cId="2272683961" sldId="260"/>
        </pc:sldMkLst>
        <pc:spChg chg="mod">
          <ac:chgData name="Pol Cunyat Llorens" userId="7d9d6803-1d02-4a93-b87d-f75ca3a15424" providerId="ADAL" clId="{DE0C7E4A-E8D8-4CE7-A8B3-2AF426F55426}" dt="2022-11-23T14:55:28.746" v="79"/>
          <ac:spMkLst>
            <pc:docMk/>
            <pc:sldMk cId="2272683961" sldId="260"/>
            <ac:spMk id="4" creationId="{6E3154FC-C702-40E5-9BFD-19B947323F6A}"/>
          </ac:spMkLst>
        </pc:spChg>
        <pc:spChg chg="mod">
          <ac:chgData name="Pol Cunyat Llorens" userId="7d9d6803-1d02-4a93-b87d-f75ca3a15424" providerId="ADAL" clId="{DE0C7E4A-E8D8-4CE7-A8B3-2AF426F55426}" dt="2022-11-23T14:55:28.746" v="79"/>
          <ac:spMkLst>
            <pc:docMk/>
            <pc:sldMk cId="2272683961" sldId="260"/>
            <ac:spMk id="5" creationId="{3F0ED943-E780-4A34-8817-0F2891DF325D}"/>
          </ac:spMkLst>
        </pc:spChg>
        <pc:grpChg chg="mod">
          <ac:chgData name="Pol Cunyat Llorens" userId="7d9d6803-1d02-4a93-b87d-f75ca3a15424" providerId="ADAL" clId="{DE0C7E4A-E8D8-4CE7-A8B3-2AF426F55426}" dt="2022-11-23T14:55:28.746" v="79"/>
          <ac:grpSpMkLst>
            <pc:docMk/>
            <pc:sldMk cId="2272683961" sldId="26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5:28.746" v="79"/>
          <ac:graphicFrameMkLst>
            <pc:docMk/>
            <pc:sldMk cId="2272683961" sldId="260"/>
            <ac:graphicFrameMk id="6" creationId="{3C4E2400-2539-4F37-8674-71CF91E3BB73}"/>
          </ac:graphicFrameMkLst>
        </pc:graphicFrameChg>
      </pc:sldChg>
      <pc:sldChg chg="modSp add del">
        <pc:chgData name="Pol Cunyat Llorens" userId="7d9d6803-1d02-4a93-b87d-f75ca3a15424" providerId="ADAL" clId="{DE0C7E4A-E8D8-4CE7-A8B3-2AF426F55426}" dt="2022-11-23T14:56:12.187" v="90" actId="47"/>
        <pc:sldMkLst>
          <pc:docMk/>
          <pc:sldMk cId="919709392" sldId="261"/>
        </pc:sldMkLst>
        <pc:spChg chg="mod">
          <ac:chgData name="Pol Cunyat Llorens" userId="7d9d6803-1d02-4a93-b87d-f75ca3a15424" providerId="ADAL" clId="{DE0C7E4A-E8D8-4CE7-A8B3-2AF426F55426}" dt="2022-11-23T14:55:28.881" v="81"/>
          <ac:spMkLst>
            <pc:docMk/>
            <pc:sldMk cId="919709392" sldId="261"/>
            <ac:spMk id="4" creationId="{6E3154FC-C702-40E5-9BFD-19B947323F6A}"/>
          </ac:spMkLst>
        </pc:spChg>
        <pc:spChg chg="mod">
          <ac:chgData name="Pol Cunyat Llorens" userId="7d9d6803-1d02-4a93-b87d-f75ca3a15424" providerId="ADAL" clId="{DE0C7E4A-E8D8-4CE7-A8B3-2AF426F55426}" dt="2022-11-23T14:55:28.881" v="81"/>
          <ac:spMkLst>
            <pc:docMk/>
            <pc:sldMk cId="919709392" sldId="261"/>
            <ac:spMk id="5" creationId="{3F0ED943-E780-4A34-8817-0F2891DF325D}"/>
          </ac:spMkLst>
        </pc:spChg>
        <pc:grpChg chg="mod">
          <ac:chgData name="Pol Cunyat Llorens" userId="7d9d6803-1d02-4a93-b87d-f75ca3a15424" providerId="ADAL" clId="{DE0C7E4A-E8D8-4CE7-A8B3-2AF426F55426}" dt="2022-11-23T14:55:28.881" v="81"/>
          <ac:grpSpMkLst>
            <pc:docMk/>
            <pc:sldMk cId="919709392" sldId="261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4:55:28.881" v="81"/>
          <ac:graphicFrameMkLst>
            <pc:docMk/>
            <pc:sldMk cId="919709392" sldId="261"/>
            <ac:graphicFrameMk id="6" creationId="{3C4E2400-2539-4F37-8674-71CF91E3BB73}"/>
          </ac:graphicFrameMkLst>
        </pc:graphicFrameChg>
      </pc:sldChg>
      <pc:sldChg chg="modSp add del mod modNotes">
        <pc:chgData name="Pol Cunyat Llorens" userId="7d9d6803-1d02-4a93-b87d-f75ca3a15424" providerId="ADAL" clId="{DE0C7E4A-E8D8-4CE7-A8B3-2AF426F55426}" dt="2022-11-23T19:07:14.522" v="5135" actId="47"/>
        <pc:sldMkLst>
          <pc:docMk/>
          <pc:sldMk cId="1580686952" sldId="261"/>
        </pc:sldMkLst>
        <pc:spChg chg="mod">
          <ac:chgData name="Pol Cunyat Llorens" userId="7d9d6803-1d02-4a93-b87d-f75ca3a15424" providerId="ADAL" clId="{DE0C7E4A-E8D8-4CE7-A8B3-2AF426F55426}" dt="2022-11-23T18:55:36.918" v="3952" actId="20577"/>
          <ac:spMkLst>
            <pc:docMk/>
            <pc:sldMk cId="1580686952" sldId="261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55:36.921" v="3954" actId="947"/>
          <ac:spMkLst>
            <pc:docMk/>
            <pc:sldMk cId="1580686952" sldId="261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7:53.172" v="1267"/>
          <ac:grpSpMkLst>
            <pc:docMk/>
            <pc:sldMk cId="1580686952" sldId="261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43" v="4646"/>
          <ac:graphicFrameMkLst>
            <pc:docMk/>
            <pc:sldMk cId="1580686952" sldId="261"/>
            <ac:graphicFrameMk id="6" creationId="{3C4E2400-2539-4F37-8674-71CF91E3BB73}"/>
          </ac:graphicFrameMkLst>
        </pc:graphicFrameChg>
      </pc:sldChg>
      <pc:sldChg chg="modSp add del mod modNotes">
        <pc:chgData name="Pol Cunyat Llorens" userId="7d9d6803-1d02-4a93-b87d-f75ca3a15424" providerId="ADAL" clId="{DE0C7E4A-E8D8-4CE7-A8B3-2AF426F55426}" dt="2022-11-23T19:07:14.522" v="5135" actId="47"/>
        <pc:sldMkLst>
          <pc:docMk/>
          <pc:sldMk cId="41380349" sldId="262"/>
        </pc:sldMkLst>
        <pc:spChg chg="mod">
          <ac:chgData name="Pol Cunyat Llorens" userId="7d9d6803-1d02-4a93-b87d-f75ca3a15424" providerId="ADAL" clId="{DE0C7E4A-E8D8-4CE7-A8B3-2AF426F55426}" dt="2022-11-23T18:55:36.924" v="3958" actId="20577"/>
          <ac:spMkLst>
            <pc:docMk/>
            <pc:sldMk cId="41380349" sldId="262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55:36.926" v="3960" actId="947"/>
          <ac:spMkLst>
            <pc:docMk/>
            <pc:sldMk cId="41380349" sldId="262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8:25.685" v="1330"/>
          <ac:grpSpMkLst>
            <pc:docMk/>
            <pc:sldMk cId="41380349" sldId="26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31" v="4638"/>
          <ac:graphicFrameMkLst>
            <pc:docMk/>
            <pc:sldMk cId="41380349" sldId="262"/>
            <ac:graphicFrameMk id="6" creationId="{3C4E2400-2539-4F37-8674-71CF91E3BB73}"/>
          </ac:graphicFrameMkLst>
        </pc:graphicFrameChg>
      </pc:sldChg>
      <pc:sldChg chg="modSp add mod ord modNotes">
        <pc:chgData name="Pol Cunyat Llorens" userId="7d9d6803-1d02-4a93-b87d-f75ca3a15424" providerId="ADAL" clId="{DE0C7E4A-E8D8-4CE7-A8B3-2AF426F55426}" dt="2022-11-24T07:21:46.778" v="5258"/>
        <pc:sldMkLst>
          <pc:docMk/>
          <pc:sldMk cId="2879843986" sldId="263"/>
        </pc:sldMkLst>
        <pc:spChg chg="mod">
          <ac:chgData name="Pol Cunyat Llorens" userId="7d9d6803-1d02-4a93-b87d-f75ca3a15424" providerId="ADAL" clId="{DE0C7E4A-E8D8-4CE7-A8B3-2AF426F55426}" dt="2022-11-23T18:55:36.929" v="3964" actId="20577"/>
          <ac:spMkLst>
            <pc:docMk/>
            <pc:sldMk cId="2879843986" sldId="263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1:46.778" v="5258"/>
          <ac:spMkLst>
            <pc:docMk/>
            <pc:sldMk cId="2879843986" sldId="263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8:43.864" v="1365"/>
          <ac:grpSpMkLst>
            <pc:docMk/>
            <pc:sldMk cId="2879843986" sldId="263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40" v="4644"/>
          <ac:graphicFrameMkLst>
            <pc:docMk/>
            <pc:sldMk cId="2879843986" sldId="263"/>
            <ac:graphicFrameMk id="6" creationId="{3C4E2400-2539-4F37-8674-71CF91E3BB73}"/>
          </ac:graphicFrameMkLst>
        </pc:graphicFrameChg>
      </pc:sldChg>
      <pc:sldChg chg="modSp add del">
        <pc:chgData name="Pol Cunyat Llorens" userId="7d9d6803-1d02-4a93-b87d-f75ca3a15424" providerId="ADAL" clId="{DE0C7E4A-E8D8-4CE7-A8B3-2AF426F55426}" dt="2022-11-23T17:38:42.510" v="1363" actId="47"/>
        <pc:sldMkLst>
          <pc:docMk/>
          <pc:sldMk cId="3215833952" sldId="263"/>
        </pc:sldMkLst>
        <pc:spChg chg="mod">
          <ac:chgData name="Pol Cunyat Llorens" userId="7d9d6803-1d02-4a93-b87d-f75ca3a15424" providerId="ADAL" clId="{DE0C7E4A-E8D8-4CE7-A8B3-2AF426F55426}" dt="2022-11-23T17:38:26.081" v="1332"/>
          <ac:spMkLst>
            <pc:docMk/>
            <pc:sldMk cId="3215833952" sldId="263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7:38:26.081" v="1332"/>
          <ac:spMkLst>
            <pc:docMk/>
            <pc:sldMk cId="3215833952" sldId="263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7:38:26.081" v="1332"/>
          <ac:grpSpMkLst>
            <pc:docMk/>
            <pc:sldMk cId="3215833952" sldId="263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38:26.081" v="1332"/>
          <ac:graphicFrameMkLst>
            <pc:docMk/>
            <pc:sldMk cId="3215833952" sldId="263"/>
            <ac:graphicFrameMk id="6" creationId="{3C4E2400-2539-4F37-8674-71CF91E3BB73}"/>
          </ac:graphicFrameMkLst>
        </pc:graphicFrameChg>
      </pc:sldChg>
      <pc:sldChg chg="addSp delSp modSp add del mod modNotes">
        <pc:chgData name="Pol Cunyat Llorens" userId="7d9d6803-1d02-4a93-b87d-f75ca3a15424" providerId="ADAL" clId="{DE0C7E4A-E8D8-4CE7-A8B3-2AF426F55426}" dt="2022-11-23T19:07:09.344" v="5133" actId="47"/>
        <pc:sldMkLst>
          <pc:docMk/>
          <pc:sldMk cId="894769556" sldId="264"/>
        </pc:sldMkLst>
        <pc:spChg chg="mod ord">
          <ac:chgData name="Pol Cunyat Llorens" userId="7d9d6803-1d02-4a93-b87d-f75ca3a15424" providerId="ADAL" clId="{DE0C7E4A-E8D8-4CE7-A8B3-2AF426F55426}" dt="2022-11-23T18:55:36.889" v="3910" actId="947"/>
          <ac:spMkLst>
            <pc:docMk/>
            <pc:sldMk cId="894769556" sldId="264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8:55:36.895" v="3918" actId="947"/>
          <ac:spMkLst>
            <pc:docMk/>
            <pc:sldMk cId="894769556" sldId="264"/>
            <ac:spMk id="3" creationId="{B3498ED1-1AF4-44F8-9B31-57A988170717}"/>
          </ac:spMkLst>
        </pc:spChg>
        <pc:spChg chg="add mod ord">
          <ac:chgData name="Pol Cunyat Llorens" userId="7d9d6803-1d02-4a93-b87d-f75ca3a15424" providerId="ADAL" clId="{DE0C7E4A-E8D8-4CE7-A8B3-2AF426F55426}" dt="2022-11-23T18:55:36.905" v="3936" actId="20577"/>
          <ac:spMkLst>
            <pc:docMk/>
            <pc:sldMk cId="894769556" sldId="264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8:55:36.888" v="3908" actId="947"/>
          <ac:spMkLst>
            <pc:docMk/>
            <pc:sldMk cId="894769556" sldId="264"/>
            <ac:spMk id="5" creationId="{CFD70945-C5A1-42DE-AB29-2B84D5CB0D72}"/>
          </ac:spMkLst>
        </pc:spChg>
        <pc:spChg chg="add mod ord">
          <ac:chgData name="Pol Cunyat Llorens" userId="7d9d6803-1d02-4a93-b87d-f75ca3a15424" providerId="ADAL" clId="{DE0C7E4A-E8D8-4CE7-A8B3-2AF426F55426}" dt="2022-11-23T18:55:36.903" v="3932" actId="20577"/>
          <ac:spMkLst>
            <pc:docMk/>
            <pc:sldMk cId="894769556" sldId="264"/>
            <ac:spMk id="7" creationId="{8DE07F64-3372-4BF5-BDE8-9180BEC77833}"/>
          </ac:spMkLst>
        </pc:spChg>
        <pc:spChg chg="mod ord">
          <ac:chgData name="Pol Cunyat Llorens" userId="7d9d6803-1d02-4a93-b87d-f75ca3a15424" providerId="ADAL" clId="{DE0C7E4A-E8D8-4CE7-A8B3-2AF426F55426}" dt="2022-11-23T18:55:36.891" v="3912" actId="947"/>
          <ac:spMkLst>
            <pc:docMk/>
            <pc:sldMk cId="894769556" sldId="264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8:55:36.892" v="3914" actId="947"/>
          <ac:spMkLst>
            <pc:docMk/>
            <pc:sldMk cId="894769556" sldId="264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8:55:36.894" v="3916" actId="947"/>
          <ac:spMkLst>
            <pc:docMk/>
            <pc:sldMk cId="894769556" sldId="264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8:55:36.896" v="3920" actId="947"/>
          <ac:spMkLst>
            <pc:docMk/>
            <pc:sldMk cId="894769556" sldId="264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8:55:36.897" v="3922" actId="947"/>
          <ac:spMkLst>
            <pc:docMk/>
            <pc:sldMk cId="894769556" sldId="264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8:55:36.898" v="3924" actId="947"/>
          <ac:spMkLst>
            <pc:docMk/>
            <pc:sldMk cId="894769556" sldId="264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8:55:36.900" v="3926" actId="947"/>
          <ac:spMkLst>
            <pc:docMk/>
            <pc:sldMk cId="894769556" sldId="264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8:55:36.901" v="3928" actId="947"/>
          <ac:spMkLst>
            <pc:docMk/>
            <pc:sldMk cId="894769556" sldId="264"/>
            <ac:spMk id="15" creationId="{F9242B69-1198-4D48-9F56-29D195B89A0E}"/>
          </ac:spMkLst>
        </pc:spChg>
        <pc:spChg chg="del mod">
          <ac:chgData name="Pol Cunyat Llorens" userId="7d9d6803-1d02-4a93-b87d-f75ca3a15424" providerId="ADAL" clId="{DE0C7E4A-E8D8-4CE7-A8B3-2AF426F55426}" dt="2022-11-23T17:45:56.265" v="1391" actId="478"/>
          <ac:spMkLst>
            <pc:docMk/>
            <pc:sldMk cId="894769556" sldId="264"/>
            <ac:spMk id="21" creationId="{AEDA87E5-1597-4181-94E6-6AB28DF11CC2}"/>
          </ac:spMkLst>
        </pc:spChg>
        <pc:spChg chg="del mod">
          <ac:chgData name="Pol Cunyat Llorens" userId="7d9d6803-1d02-4a93-b87d-f75ca3a15424" providerId="ADAL" clId="{DE0C7E4A-E8D8-4CE7-A8B3-2AF426F55426}" dt="2022-11-23T17:45:56.265" v="1391" actId="478"/>
          <ac:spMkLst>
            <pc:docMk/>
            <pc:sldMk cId="894769556" sldId="264"/>
            <ac:spMk id="22" creationId="{FF3AEA6B-2775-4ED0-A23D-75BB65BAE81B}"/>
          </ac:spMkLst>
        </pc:spChg>
        <pc:spChg chg="del mod">
          <ac:chgData name="Pol Cunyat Llorens" userId="7d9d6803-1d02-4a93-b87d-f75ca3a15424" providerId="ADAL" clId="{DE0C7E4A-E8D8-4CE7-A8B3-2AF426F55426}" dt="2022-11-23T17:45:56.265" v="1391" actId="478"/>
          <ac:spMkLst>
            <pc:docMk/>
            <pc:sldMk cId="894769556" sldId="264"/>
            <ac:spMk id="23" creationId="{EA859A36-6227-41DD-A656-4858101C76BF}"/>
          </ac:spMkLst>
        </pc:spChg>
        <pc:grpChg chg="mod">
          <ac:chgData name="Pol Cunyat Llorens" userId="7d9d6803-1d02-4a93-b87d-f75ca3a15424" providerId="ADAL" clId="{DE0C7E4A-E8D8-4CE7-A8B3-2AF426F55426}" dt="2022-11-23T17:45:53.343" v="1390"/>
          <ac:grpSpMkLst>
            <pc:docMk/>
            <pc:sldMk cId="894769556" sldId="264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28" v="4636"/>
          <ac:graphicFrameMkLst>
            <pc:docMk/>
            <pc:sldMk cId="894769556" sldId="264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DE0C7E4A-E8D8-4CE7-A8B3-2AF426F55426}" dt="2022-11-23T17:45:56.265" v="1391" actId="478"/>
          <ac:picMkLst>
            <pc:docMk/>
            <pc:sldMk cId="894769556" sldId="264"/>
            <ac:picMk id="18" creationId="{AE7DFE16-22E2-4144-A621-2EEF51E62D42}"/>
          </ac:picMkLst>
        </pc:picChg>
        <pc:picChg chg="del mod">
          <ac:chgData name="Pol Cunyat Llorens" userId="7d9d6803-1d02-4a93-b87d-f75ca3a15424" providerId="ADAL" clId="{DE0C7E4A-E8D8-4CE7-A8B3-2AF426F55426}" dt="2022-11-23T17:45:56.265" v="1391" actId="478"/>
          <ac:picMkLst>
            <pc:docMk/>
            <pc:sldMk cId="894769556" sldId="264"/>
            <ac:picMk id="19" creationId="{E488BA97-A6E1-458D-A716-35A6BF71FA6A}"/>
          </ac:picMkLst>
        </pc:picChg>
        <pc:picChg chg="del mod">
          <ac:chgData name="Pol Cunyat Llorens" userId="7d9d6803-1d02-4a93-b87d-f75ca3a15424" providerId="ADAL" clId="{DE0C7E4A-E8D8-4CE7-A8B3-2AF426F55426}" dt="2022-11-23T17:45:56.265" v="1391" actId="478"/>
          <ac:picMkLst>
            <pc:docMk/>
            <pc:sldMk cId="894769556" sldId="264"/>
            <ac:picMk id="20" creationId="{62D34AF6-FAAB-441E-91E0-7675C573B017}"/>
          </ac:picMkLst>
        </pc:picChg>
        <pc:picChg chg="add mod ord">
          <ac:chgData name="Pol Cunyat Llorens" userId="7d9d6803-1d02-4a93-b87d-f75ca3a15424" providerId="ADAL" clId="{DE0C7E4A-E8D8-4CE7-A8B3-2AF426F55426}" dt="2022-11-23T17:47:35.742" v="1497"/>
          <ac:picMkLst>
            <pc:docMk/>
            <pc:sldMk cId="894769556" sldId="264"/>
            <ac:picMk id="24" creationId="{9574CE19-F7AA-42CA-B7AA-031CC4C48A2F}"/>
          </ac:picMkLst>
        </pc:picChg>
        <pc:picChg chg="add mod ord">
          <ac:chgData name="Pol Cunyat Llorens" userId="7d9d6803-1d02-4a93-b87d-f75ca3a15424" providerId="ADAL" clId="{DE0C7E4A-E8D8-4CE7-A8B3-2AF426F55426}" dt="2022-11-23T17:47:35.742" v="1499"/>
          <ac:picMkLst>
            <pc:docMk/>
            <pc:sldMk cId="894769556" sldId="264"/>
            <ac:picMk id="25" creationId="{4E434E70-90BE-40F7-B38A-A0672CAC8C1D}"/>
          </ac:picMkLst>
        </pc:picChg>
        <pc:picChg chg="add mod ord">
          <ac:chgData name="Pol Cunyat Llorens" userId="7d9d6803-1d02-4a93-b87d-f75ca3a15424" providerId="ADAL" clId="{DE0C7E4A-E8D8-4CE7-A8B3-2AF426F55426}" dt="2022-11-23T17:47:35.742" v="1501"/>
          <ac:picMkLst>
            <pc:docMk/>
            <pc:sldMk cId="894769556" sldId="264"/>
            <ac:picMk id="26" creationId="{EC368996-1123-40C3-9872-2A0010CE378F}"/>
          </ac:picMkLst>
        </pc:picChg>
      </pc:sldChg>
      <pc:sldChg chg="addSp modSp add del mod ord">
        <pc:chgData name="Pol Cunyat Llorens" userId="7d9d6803-1d02-4a93-b87d-f75ca3a15424" providerId="ADAL" clId="{DE0C7E4A-E8D8-4CE7-A8B3-2AF426F55426}" dt="2022-11-23T18:17:09.509" v="2064" actId="47"/>
        <pc:sldMkLst>
          <pc:docMk/>
          <pc:sldMk cId="3551271601" sldId="265"/>
        </pc:sldMkLst>
        <pc:spChg chg="mod ord">
          <ac:chgData name="Pol Cunyat Llorens" userId="7d9d6803-1d02-4a93-b87d-f75ca3a15424" providerId="ADAL" clId="{DE0C7E4A-E8D8-4CE7-A8B3-2AF426F55426}" dt="2022-11-23T17:48:39.209" v="1568"/>
          <ac:spMkLst>
            <pc:docMk/>
            <pc:sldMk cId="3551271601" sldId="265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7:48:39.211" v="1576"/>
          <ac:spMkLst>
            <pc:docMk/>
            <pc:sldMk cId="3551271601" sldId="265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DE0C7E4A-E8D8-4CE7-A8B3-2AF426F55426}" dt="2022-11-23T17:48:39.213" v="1592"/>
          <ac:spMkLst>
            <pc:docMk/>
            <pc:sldMk cId="3551271601" sldId="265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7:48:39.209" v="1566"/>
          <ac:spMkLst>
            <pc:docMk/>
            <pc:sldMk cId="3551271601" sldId="265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DE0C7E4A-E8D8-4CE7-A8B3-2AF426F55426}" dt="2022-11-23T17:48:39.213" v="1588"/>
          <ac:spMkLst>
            <pc:docMk/>
            <pc:sldMk cId="3551271601" sldId="265"/>
            <ac:spMk id="7" creationId="{8DE07F64-3372-4BF5-BDE8-9180BEC77833}"/>
          </ac:spMkLst>
        </pc:spChg>
        <pc:spChg chg="mod ord">
          <ac:chgData name="Pol Cunyat Llorens" userId="7d9d6803-1d02-4a93-b87d-f75ca3a15424" providerId="ADAL" clId="{DE0C7E4A-E8D8-4CE7-A8B3-2AF426F55426}" dt="2022-11-23T17:48:39.210" v="1570"/>
          <ac:spMkLst>
            <pc:docMk/>
            <pc:sldMk cId="3551271601" sldId="265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7:48:39.210" v="1572"/>
          <ac:spMkLst>
            <pc:docMk/>
            <pc:sldMk cId="3551271601" sldId="265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7:48:39.210" v="1574"/>
          <ac:spMkLst>
            <pc:docMk/>
            <pc:sldMk cId="3551271601" sldId="265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7:48:39.211" v="1578"/>
          <ac:spMkLst>
            <pc:docMk/>
            <pc:sldMk cId="3551271601" sldId="265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7:48:39.211" v="1580"/>
          <ac:spMkLst>
            <pc:docMk/>
            <pc:sldMk cId="3551271601" sldId="265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7:48:39.212" v="1582"/>
          <ac:spMkLst>
            <pc:docMk/>
            <pc:sldMk cId="3551271601" sldId="265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7:48:39.212" v="1584"/>
          <ac:spMkLst>
            <pc:docMk/>
            <pc:sldMk cId="3551271601" sldId="265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7:48:39.212" v="1586"/>
          <ac:spMkLst>
            <pc:docMk/>
            <pc:sldMk cId="3551271601" sldId="265"/>
            <ac:spMk id="15" creationId="{F9242B69-1198-4D48-9F56-29D195B89A0E}"/>
          </ac:spMkLst>
        </pc:spChg>
        <pc:spChg chg="add mod ord">
          <ac:chgData name="Pol Cunyat Llorens" userId="7d9d6803-1d02-4a93-b87d-f75ca3a15424" providerId="ADAL" clId="{DE0C7E4A-E8D8-4CE7-A8B3-2AF426F55426}" dt="2022-11-23T17:48:39.213" v="1590"/>
          <ac:spMkLst>
            <pc:docMk/>
            <pc:sldMk cId="3551271601" sldId="265"/>
            <ac:spMk id="19" creationId="{1FD75A23-D0A9-4354-921F-9FE4E2AF8DA8}"/>
          </ac:spMkLst>
        </pc:spChg>
        <pc:grpChg chg="mod">
          <ac:chgData name="Pol Cunyat Llorens" userId="7d9d6803-1d02-4a93-b87d-f75ca3a15424" providerId="ADAL" clId="{DE0C7E4A-E8D8-4CE7-A8B3-2AF426F55426}" dt="2022-11-23T17:48:08.036" v="1551"/>
          <ac:grpSpMkLst>
            <pc:docMk/>
            <pc:sldMk cId="3551271601" sldId="265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8:39.219" v="1600"/>
          <ac:graphicFrameMkLst>
            <pc:docMk/>
            <pc:sldMk cId="3551271601" sldId="265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DE0C7E4A-E8D8-4CE7-A8B3-2AF426F55426}" dt="2022-11-23T17:48:39.214" v="1594"/>
          <ac:picMkLst>
            <pc:docMk/>
            <pc:sldMk cId="3551271601" sldId="265"/>
            <ac:picMk id="24" creationId="{9574CE19-F7AA-42CA-B7AA-031CC4C48A2F}"/>
          </ac:picMkLst>
        </pc:picChg>
        <pc:picChg chg="mod ord">
          <ac:chgData name="Pol Cunyat Llorens" userId="7d9d6803-1d02-4a93-b87d-f75ca3a15424" providerId="ADAL" clId="{DE0C7E4A-E8D8-4CE7-A8B3-2AF426F55426}" dt="2022-11-23T17:48:39.214" v="1596"/>
          <ac:picMkLst>
            <pc:docMk/>
            <pc:sldMk cId="3551271601" sldId="265"/>
            <ac:picMk id="25" creationId="{4E434E70-90BE-40F7-B38A-A0672CAC8C1D}"/>
          </ac:picMkLst>
        </pc:picChg>
        <pc:picChg chg="mod ord">
          <ac:chgData name="Pol Cunyat Llorens" userId="7d9d6803-1d02-4a93-b87d-f75ca3a15424" providerId="ADAL" clId="{DE0C7E4A-E8D8-4CE7-A8B3-2AF426F55426}" dt="2022-11-23T17:48:39.214" v="1598"/>
          <ac:picMkLst>
            <pc:docMk/>
            <pc:sldMk cId="3551271601" sldId="265"/>
            <ac:picMk id="26" creationId="{EC368996-1123-40C3-9872-2A0010CE378F}"/>
          </ac:picMkLst>
        </pc:picChg>
      </pc:sldChg>
      <pc:sldChg chg="modSp add del ord">
        <pc:chgData name="Pol Cunyat Llorens" userId="7d9d6803-1d02-4a93-b87d-f75ca3a15424" providerId="ADAL" clId="{DE0C7E4A-E8D8-4CE7-A8B3-2AF426F55426}" dt="2022-11-23T17:48:47.527" v="1603" actId="47"/>
        <pc:sldMkLst>
          <pc:docMk/>
          <pc:sldMk cId="166188372" sldId="266"/>
        </pc:sldMkLst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7" creationId="{8DE07F64-3372-4BF5-BDE8-9180BEC77833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7:48:11.236" v="1555"/>
          <ac:spMkLst>
            <pc:docMk/>
            <pc:sldMk cId="166188372" sldId="266"/>
            <ac:spMk id="15" creationId="{F9242B69-1198-4D48-9F56-29D195B89A0E}"/>
          </ac:spMkLst>
        </pc:spChg>
        <pc:grpChg chg="mod">
          <ac:chgData name="Pol Cunyat Llorens" userId="7d9d6803-1d02-4a93-b87d-f75ca3a15424" providerId="ADAL" clId="{DE0C7E4A-E8D8-4CE7-A8B3-2AF426F55426}" dt="2022-11-23T17:48:11.236" v="1555"/>
          <ac:grpSpMkLst>
            <pc:docMk/>
            <pc:sldMk cId="166188372" sldId="266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8:11.236" v="1555"/>
          <ac:graphicFrameMkLst>
            <pc:docMk/>
            <pc:sldMk cId="166188372" sldId="266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7:48:11.236" v="1555"/>
          <ac:picMkLst>
            <pc:docMk/>
            <pc:sldMk cId="166188372" sldId="266"/>
            <ac:picMk id="24" creationId="{9574CE19-F7AA-42CA-B7AA-031CC4C48A2F}"/>
          </ac:picMkLst>
        </pc:picChg>
        <pc:picChg chg="mod">
          <ac:chgData name="Pol Cunyat Llorens" userId="7d9d6803-1d02-4a93-b87d-f75ca3a15424" providerId="ADAL" clId="{DE0C7E4A-E8D8-4CE7-A8B3-2AF426F55426}" dt="2022-11-23T17:48:11.236" v="1555"/>
          <ac:picMkLst>
            <pc:docMk/>
            <pc:sldMk cId="166188372" sldId="266"/>
            <ac:picMk id="25" creationId="{4E434E70-90BE-40F7-B38A-A0672CAC8C1D}"/>
          </ac:picMkLst>
        </pc:picChg>
        <pc:picChg chg="mod">
          <ac:chgData name="Pol Cunyat Llorens" userId="7d9d6803-1d02-4a93-b87d-f75ca3a15424" providerId="ADAL" clId="{DE0C7E4A-E8D8-4CE7-A8B3-2AF426F55426}" dt="2022-11-23T17:48:11.236" v="1555"/>
          <ac:picMkLst>
            <pc:docMk/>
            <pc:sldMk cId="166188372" sldId="266"/>
            <ac:picMk id="26" creationId="{EC368996-1123-40C3-9872-2A0010CE378F}"/>
          </ac:picMkLst>
        </pc:picChg>
      </pc:sldChg>
      <pc:sldChg chg="modSp add del mod ord">
        <pc:chgData name="Pol Cunyat Llorens" userId="7d9d6803-1d02-4a93-b87d-f75ca3a15424" providerId="ADAL" clId="{DE0C7E4A-E8D8-4CE7-A8B3-2AF426F55426}" dt="2022-11-23T18:17:08.844" v="2063" actId="47"/>
        <pc:sldMkLst>
          <pc:docMk/>
          <pc:sldMk cId="2008034279" sldId="267"/>
        </pc:sldMkLst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7:48:53.074" v="1606" actId="14100"/>
          <ac:spMkLst>
            <pc:docMk/>
            <pc:sldMk cId="2008034279" sldId="267"/>
            <ac:spMk id="7" creationId="{8DE07F64-3372-4BF5-BDE8-9180BEC77833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7:48:46.163" v="1602"/>
          <ac:spMkLst>
            <pc:docMk/>
            <pc:sldMk cId="2008034279" sldId="267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7:48:55.488" v="1607" actId="14100"/>
          <ac:spMkLst>
            <pc:docMk/>
            <pc:sldMk cId="2008034279" sldId="267"/>
            <ac:spMk id="19" creationId="{1FD75A23-D0A9-4354-921F-9FE4E2AF8DA8}"/>
          </ac:spMkLst>
        </pc:spChg>
        <pc:grpChg chg="mod">
          <ac:chgData name="Pol Cunyat Llorens" userId="7d9d6803-1d02-4a93-b87d-f75ca3a15424" providerId="ADAL" clId="{DE0C7E4A-E8D8-4CE7-A8B3-2AF426F55426}" dt="2022-11-23T17:48:46.163" v="1602"/>
          <ac:grpSpMkLst>
            <pc:docMk/>
            <pc:sldMk cId="2008034279" sldId="267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8:46.163" v="1602"/>
          <ac:graphicFrameMkLst>
            <pc:docMk/>
            <pc:sldMk cId="2008034279" sldId="267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7:48:46.163" v="1602"/>
          <ac:picMkLst>
            <pc:docMk/>
            <pc:sldMk cId="2008034279" sldId="267"/>
            <ac:picMk id="24" creationId="{9574CE19-F7AA-42CA-B7AA-031CC4C48A2F}"/>
          </ac:picMkLst>
        </pc:picChg>
        <pc:picChg chg="mod">
          <ac:chgData name="Pol Cunyat Llorens" userId="7d9d6803-1d02-4a93-b87d-f75ca3a15424" providerId="ADAL" clId="{DE0C7E4A-E8D8-4CE7-A8B3-2AF426F55426}" dt="2022-11-23T17:48:46.163" v="1602"/>
          <ac:picMkLst>
            <pc:docMk/>
            <pc:sldMk cId="2008034279" sldId="267"/>
            <ac:picMk id="25" creationId="{4E434E70-90BE-40F7-B38A-A0672CAC8C1D}"/>
          </ac:picMkLst>
        </pc:picChg>
        <pc:picChg chg="mod">
          <ac:chgData name="Pol Cunyat Llorens" userId="7d9d6803-1d02-4a93-b87d-f75ca3a15424" providerId="ADAL" clId="{DE0C7E4A-E8D8-4CE7-A8B3-2AF426F55426}" dt="2022-11-23T17:48:46.163" v="1602"/>
          <ac:picMkLst>
            <pc:docMk/>
            <pc:sldMk cId="2008034279" sldId="267"/>
            <ac:picMk id="26" creationId="{EC368996-1123-40C3-9872-2A0010CE378F}"/>
          </ac:picMkLst>
        </pc:picChg>
      </pc:sldChg>
      <pc:sldChg chg="modSp add del mod ord">
        <pc:chgData name="Pol Cunyat Llorens" userId="7d9d6803-1d02-4a93-b87d-f75ca3a15424" providerId="ADAL" clId="{DE0C7E4A-E8D8-4CE7-A8B3-2AF426F55426}" dt="2022-11-23T18:17:08.221" v="2062" actId="47"/>
        <pc:sldMkLst>
          <pc:docMk/>
          <pc:sldMk cId="403607128" sldId="268"/>
        </pc:sldMkLst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7:49:15.185" v="1613" actId="14100"/>
          <ac:spMkLst>
            <pc:docMk/>
            <pc:sldMk cId="403607128" sldId="268"/>
            <ac:spMk id="7" creationId="{8DE07F64-3372-4BF5-BDE8-9180BEC77833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7:48:59.161" v="1609"/>
          <ac:spMkLst>
            <pc:docMk/>
            <pc:sldMk cId="403607128" sldId="268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7:49:12.914" v="1612" actId="14100"/>
          <ac:spMkLst>
            <pc:docMk/>
            <pc:sldMk cId="403607128" sldId="268"/>
            <ac:spMk id="19" creationId="{1FD75A23-D0A9-4354-921F-9FE4E2AF8DA8}"/>
          </ac:spMkLst>
        </pc:spChg>
        <pc:grpChg chg="mod">
          <ac:chgData name="Pol Cunyat Llorens" userId="7d9d6803-1d02-4a93-b87d-f75ca3a15424" providerId="ADAL" clId="{DE0C7E4A-E8D8-4CE7-A8B3-2AF426F55426}" dt="2022-11-23T17:48:59.161" v="1609"/>
          <ac:grpSpMkLst>
            <pc:docMk/>
            <pc:sldMk cId="403607128" sldId="268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8:59.161" v="1609"/>
          <ac:graphicFrameMkLst>
            <pc:docMk/>
            <pc:sldMk cId="403607128" sldId="268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7:48:59.161" v="1609"/>
          <ac:picMkLst>
            <pc:docMk/>
            <pc:sldMk cId="403607128" sldId="268"/>
            <ac:picMk id="24" creationId="{9574CE19-F7AA-42CA-B7AA-031CC4C48A2F}"/>
          </ac:picMkLst>
        </pc:picChg>
        <pc:picChg chg="mod">
          <ac:chgData name="Pol Cunyat Llorens" userId="7d9d6803-1d02-4a93-b87d-f75ca3a15424" providerId="ADAL" clId="{DE0C7E4A-E8D8-4CE7-A8B3-2AF426F55426}" dt="2022-11-23T17:48:59.161" v="1609"/>
          <ac:picMkLst>
            <pc:docMk/>
            <pc:sldMk cId="403607128" sldId="268"/>
            <ac:picMk id="25" creationId="{4E434E70-90BE-40F7-B38A-A0672CAC8C1D}"/>
          </ac:picMkLst>
        </pc:picChg>
        <pc:picChg chg="mod">
          <ac:chgData name="Pol Cunyat Llorens" userId="7d9d6803-1d02-4a93-b87d-f75ca3a15424" providerId="ADAL" clId="{DE0C7E4A-E8D8-4CE7-A8B3-2AF426F55426}" dt="2022-11-23T17:48:59.161" v="1609"/>
          <ac:picMkLst>
            <pc:docMk/>
            <pc:sldMk cId="403607128" sldId="268"/>
            <ac:picMk id="26" creationId="{EC368996-1123-40C3-9872-2A0010CE378F}"/>
          </ac:picMkLst>
        </pc:picChg>
      </pc:sldChg>
      <pc:sldChg chg="addSp delSp modSp add del mod ord">
        <pc:chgData name="Pol Cunyat Llorens" userId="7d9d6803-1d02-4a93-b87d-f75ca3a15424" providerId="ADAL" clId="{DE0C7E4A-E8D8-4CE7-A8B3-2AF426F55426}" dt="2022-11-23T18:17:15.183" v="2065" actId="47"/>
        <pc:sldMkLst>
          <pc:docMk/>
          <pc:sldMk cId="2068898510" sldId="269"/>
        </pc:sldMkLst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DE0C7E4A-E8D8-4CE7-A8B3-2AF426F55426}" dt="2022-11-23T17:49:21.730" v="1618" actId="478"/>
          <ac:spMkLst>
            <pc:docMk/>
            <pc:sldMk cId="2068898510" sldId="269"/>
            <ac:spMk id="7" creationId="{8DE07F64-3372-4BF5-BDE8-9180BEC77833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7:49:17.877" v="1615"/>
          <ac:spMkLst>
            <pc:docMk/>
            <pc:sldMk cId="2068898510" sldId="269"/>
            <ac:spMk id="15" creationId="{F9242B69-1198-4D48-9F56-29D195B89A0E}"/>
          </ac:spMkLst>
        </pc:spChg>
        <pc:spChg chg="add del">
          <ac:chgData name="Pol Cunyat Llorens" userId="7d9d6803-1d02-4a93-b87d-f75ca3a15424" providerId="ADAL" clId="{DE0C7E4A-E8D8-4CE7-A8B3-2AF426F55426}" dt="2022-11-23T17:50:09.019" v="1621" actId="478"/>
          <ac:spMkLst>
            <pc:docMk/>
            <pc:sldMk cId="2068898510" sldId="269"/>
            <ac:spMk id="16" creationId="{B7113037-0FD5-43D8-AA2A-EE6542D3A0A0}"/>
          </ac:spMkLst>
        </pc:spChg>
        <pc:spChg chg="mod">
          <ac:chgData name="Pol Cunyat Llorens" userId="7d9d6803-1d02-4a93-b87d-f75ca3a15424" providerId="ADAL" clId="{DE0C7E4A-E8D8-4CE7-A8B3-2AF426F55426}" dt="2022-11-23T17:49:24.449" v="1619" actId="14100"/>
          <ac:spMkLst>
            <pc:docMk/>
            <pc:sldMk cId="2068898510" sldId="269"/>
            <ac:spMk id="19" creationId="{1FD75A23-D0A9-4354-921F-9FE4E2AF8DA8}"/>
          </ac:spMkLst>
        </pc:spChg>
        <pc:grpChg chg="mod">
          <ac:chgData name="Pol Cunyat Llorens" userId="7d9d6803-1d02-4a93-b87d-f75ca3a15424" providerId="ADAL" clId="{DE0C7E4A-E8D8-4CE7-A8B3-2AF426F55426}" dt="2022-11-23T17:49:17.877" v="1615"/>
          <ac:grpSpMkLst>
            <pc:docMk/>
            <pc:sldMk cId="2068898510" sldId="26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7:49:17.877" v="1615"/>
          <ac:graphicFrameMkLst>
            <pc:docMk/>
            <pc:sldMk cId="2068898510" sldId="269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7:49:17.877" v="1615"/>
          <ac:picMkLst>
            <pc:docMk/>
            <pc:sldMk cId="2068898510" sldId="269"/>
            <ac:picMk id="24" creationId="{9574CE19-F7AA-42CA-B7AA-031CC4C48A2F}"/>
          </ac:picMkLst>
        </pc:picChg>
        <pc:picChg chg="mod">
          <ac:chgData name="Pol Cunyat Llorens" userId="7d9d6803-1d02-4a93-b87d-f75ca3a15424" providerId="ADAL" clId="{DE0C7E4A-E8D8-4CE7-A8B3-2AF426F55426}" dt="2022-11-23T17:49:17.877" v="1615"/>
          <ac:picMkLst>
            <pc:docMk/>
            <pc:sldMk cId="2068898510" sldId="269"/>
            <ac:picMk id="25" creationId="{4E434E70-90BE-40F7-B38A-A0672CAC8C1D}"/>
          </ac:picMkLst>
        </pc:picChg>
        <pc:picChg chg="mod">
          <ac:chgData name="Pol Cunyat Llorens" userId="7d9d6803-1d02-4a93-b87d-f75ca3a15424" providerId="ADAL" clId="{DE0C7E4A-E8D8-4CE7-A8B3-2AF426F55426}" dt="2022-11-23T17:49:17.877" v="1615"/>
          <ac:picMkLst>
            <pc:docMk/>
            <pc:sldMk cId="2068898510" sldId="269"/>
            <ac:picMk id="26" creationId="{EC368996-1123-40C3-9872-2A0010CE378F}"/>
          </ac:picMkLst>
        </pc:picChg>
      </pc:sldChg>
      <pc:sldChg chg="modSp add del mod modNotes">
        <pc:chgData name="Pol Cunyat Llorens" userId="7d9d6803-1d02-4a93-b87d-f75ca3a15424" providerId="ADAL" clId="{DE0C7E4A-E8D8-4CE7-A8B3-2AF426F55426}" dt="2022-11-23T19:07:10.934" v="5134" actId="47"/>
        <pc:sldMkLst>
          <pc:docMk/>
          <pc:sldMk cId="1893254839" sldId="270"/>
        </pc:sldMkLst>
        <pc:spChg chg="mod">
          <ac:chgData name="Pol Cunyat Llorens" userId="7d9d6803-1d02-4a93-b87d-f75ca3a15424" providerId="ADAL" clId="{DE0C7E4A-E8D8-4CE7-A8B3-2AF426F55426}" dt="2022-11-23T18:55:36.908" v="3940" actId="20577"/>
          <ac:spMkLst>
            <pc:docMk/>
            <pc:sldMk cId="1893254839" sldId="270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55:36.910" v="3942" actId="947"/>
          <ac:spMkLst>
            <pc:docMk/>
            <pc:sldMk cId="1893254839" sldId="270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8:04:17.416" v="1650"/>
          <ac:grpSpMkLst>
            <pc:docMk/>
            <pc:sldMk cId="1893254839" sldId="27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55:38.634" v="4640"/>
          <ac:graphicFrameMkLst>
            <pc:docMk/>
            <pc:sldMk cId="1893254839" sldId="270"/>
            <ac:graphicFrameMk id="6" creationId="{3C4E2400-2539-4F37-8674-71CF91E3BB73}"/>
          </ac:graphicFrameMkLst>
        </pc:graphicFrameChg>
      </pc:sldChg>
      <pc:sldChg chg="addSp delSp modSp add mod ord modNotes">
        <pc:chgData name="Pol Cunyat Llorens" userId="7d9d6803-1d02-4a93-b87d-f75ca3a15424" providerId="ADAL" clId="{DE0C7E4A-E8D8-4CE7-A8B3-2AF426F55426}" dt="2022-11-23T19:05:39.969" v="5003"/>
        <pc:sldMkLst>
          <pc:docMk/>
          <pc:sldMk cId="2389648504" sldId="271"/>
        </pc:sldMkLst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DE0C7E4A-E8D8-4CE7-A8B3-2AF426F55426}" dt="2022-11-23T18:04:26.794" v="1653" actId="478"/>
          <ac:spMkLst>
            <pc:docMk/>
            <pc:sldMk cId="2389648504" sldId="271"/>
            <ac:spMk id="7" creationId="{8DE07F64-3372-4BF5-BDE8-9180BEC77833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9:05:17.230" v="4997"/>
          <ac:spMkLst>
            <pc:docMk/>
            <pc:sldMk cId="2389648504" sldId="271"/>
            <ac:spMk id="15" creationId="{F9242B69-1198-4D48-9F56-29D195B89A0E}"/>
          </ac:spMkLst>
        </pc:spChg>
        <pc:spChg chg="add del">
          <ac:chgData name="Pol Cunyat Llorens" userId="7d9d6803-1d02-4a93-b87d-f75ca3a15424" providerId="ADAL" clId="{DE0C7E4A-E8D8-4CE7-A8B3-2AF426F55426}" dt="2022-11-23T19:02:13.295" v="4814" actId="478"/>
          <ac:spMkLst>
            <pc:docMk/>
            <pc:sldMk cId="2389648504" sldId="271"/>
            <ac:spMk id="16" creationId="{35790C7A-F0E7-44CC-B879-2836241844B6}"/>
          </ac:spMkLst>
        </pc:spChg>
        <pc:spChg chg="add del mod ord">
          <ac:chgData name="Pol Cunyat Llorens" userId="7d9d6803-1d02-4a93-b87d-f75ca3a15424" providerId="ADAL" clId="{DE0C7E4A-E8D8-4CE7-A8B3-2AF426F55426}" dt="2022-11-23T19:04:31.184" v="4931" actId="478"/>
          <ac:spMkLst>
            <pc:docMk/>
            <pc:sldMk cId="2389648504" sldId="271"/>
            <ac:spMk id="21" creationId="{ACDFF991-E031-40D9-A813-56CD57A2E9F4}"/>
          </ac:spMkLst>
        </pc:spChg>
        <pc:grpChg chg="mod">
          <ac:chgData name="Pol Cunyat Llorens" userId="7d9d6803-1d02-4a93-b87d-f75ca3a15424" providerId="ADAL" clId="{DE0C7E4A-E8D8-4CE7-A8B3-2AF426F55426}" dt="2022-11-23T18:04:24.282" v="1652"/>
          <ac:grpSpMkLst>
            <pc:docMk/>
            <pc:sldMk cId="2389648504" sldId="271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5:25.110" v="5000" actId="1076"/>
          <ac:graphicFrameMkLst>
            <pc:docMk/>
            <pc:sldMk cId="2389648504" sldId="271"/>
            <ac:graphicFrameMk id="6" creationId="{3C4E2400-2539-4F37-8674-71CF91E3BB73}"/>
          </ac:graphicFrameMkLst>
        </pc:graphicFrameChg>
        <pc:picChg chg="add mod ord">
          <ac:chgData name="Pol Cunyat Llorens" userId="7d9d6803-1d02-4a93-b87d-f75ca3a15424" providerId="ADAL" clId="{DE0C7E4A-E8D8-4CE7-A8B3-2AF426F55426}" dt="2022-11-23T19:05:25.110" v="5001" actId="1038"/>
          <ac:picMkLst>
            <pc:docMk/>
            <pc:sldMk cId="2389648504" sldId="271"/>
            <ac:picMk id="17" creationId="{50EC3490-CAB4-4915-A5ED-1A0570DC5F3F}"/>
          </ac:picMkLst>
        </pc:picChg>
        <pc:picChg chg="del mod">
          <ac:chgData name="Pol Cunyat Llorens" userId="7d9d6803-1d02-4a93-b87d-f75ca3a15424" providerId="ADAL" clId="{DE0C7E4A-E8D8-4CE7-A8B3-2AF426F55426}" dt="2022-11-23T19:00:49.122" v="4812" actId="478"/>
          <ac:picMkLst>
            <pc:docMk/>
            <pc:sldMk cId="2389648504" sldId="271"/>
            <ac:picMk id="24" creationId="{9574CE19-F7AA-42CA-B7AA-031CC4C48A2F}"/>
          </ac:picMkLst>
        </pc:picChg>
        <pc:picChg chg="del mod">
          <ac:chgData name="Pol Cunyat Llorens" userId="7d9d6803-1d02-4a93-b87d-f75ca3a15424" providerId="ADAL" clId="{DE0C7E4A-E8D8-4CE7-A8B3-2AF426F55426}" dt="2022-11-23T19:00:49.122" v="4812" actId="478"/>
          <ac:picMkLst>
            <pc:docMk/>
            <pc:sldMk cId="2389648504" sldId="271"/>
            <ac:picMk id="25" creationId="{4E434E70-90BE-40F7-B38A-A0672CAC8C1D}"/>
          </ac:picMkLst>
        </pc:picChg>
        <pc:picChg chg="del mod">
          <ac:chgData name="Pol Cunyat Llorens" userId="7d9d6803-1d02-4a93-b87d-f75ca3a15424" providerId="ADAL" clId="{DE0C7E4A-E8D8-4CE7-A8B3-2AF426F55426}" dt="2022-11-23T19:00:49.122" v="4812" actId="478"/>
          <ac:picMkLst>
            <pc:docMk/>
            <pc:sldMk cId="2389648504" sldId="271"/>
            <ac:picMk id="26" creationId="{EC368996-1123-40C3-9872-2A0010CE378F}"/>
          </ac:picMkLst>
        </pc:picChg>
      </pc:sldChg>
      <pc:sldChg chg="addSp delSp modSp add del mod">
        <pc:chgData name="Pol Cunyat Llorens" userId="7d9d6803-1d02-4a93-b87d-f75ca3a15424" providerId="ADAL" clId="{DE0C7E4A-E8D8-4CE7-A8B3-2AF426F55426}" dt="2022-11-23T18:38:48.942" v="2535" actId="47"/>
        <pc:sldMkLst>
          <pc:docMk/>
          <pc:sldMk cId="368739473" sldId="272"/>
        </pc:sldMkLst>
        <pc:spChg chg="mod">
          <ac:chgData name="Pol Cunyat Llorens" userId="7d9d6803-1d02-4a93-b87d-f75ca3a15424" providerId="ADAL" clId="{DE0C7E4A-E8D8-4CE7-A8B3-2AF426F55426}" dt="2022-11-23T18:26:27.301" v="2291" actId="114"/>
          <ac:spMkLst>
            <pc:docMk/>
            <pc:sldMk cId="368739473" sldId="272"/>
            <ac:spMk id="2" creationId="{854CB30B-3674-4BC2-8980-37B4FC41DAC8}"/>
          </ac:spMkLst>
        </pc:spChg>
        <pc:spChg chg="add mod">
          <ac:chgData name="Pol Cunyat Llorens" userId="7d9d6803-1d02-4a93-b87d-f75ca3a15424" providerId="ADAL" clId="{DE0C7E4A-E8D8-4CE7-A8B3-2AF426F55426}" dt="2022-11-23T18:25:02.729" v="2245" actId="14100"/>
          <ac:spMkLst>
            <pc:docMk/>
            <pc:sldMk cId="368739473" sldId="272"/>
            <ac:spMk id="3" creationId="{25003139-FA22-4A38-B729-A62BB16FC1C0}"/>
          </ac:spMkLst>
        </pc:spChg>
        <pc:spChg chg="add del mod">
          <ac:chgData name="Pol Cunyat Llorens" userId="7d9d6803-1d02-4a93-b87d-f75ca3a15424" providerId="ADAL" clId="{DE0C7E4A-E8D8-4CE7-A8B3-2AF426F55426}" dt="2022-11-23T18:25:53.810" v="2252" actId="208"/>
          <ac:spMkLst>
            <pc:docMk/>
            <pc:sldMk cId="368739473" sldId="272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3T18:22:28.326" v="2133"/>
          <ac:spMkLst>
            <pc:docMk/>
            <pc:sldMk cId="368739473" sldId="272"/>
            <ac:spMk id="5" creationId="{CFD70945-C5A1-42DE-AB29-2B84D5CB0D72}"/>
          </ac:spMkLst>
        </pc:spChg>
        <pc:spChg chg="add del mod">
          <ac:chgData name="Pol Cunyat Llorens" userId="7d9d6803-1d02-4a93-b87d-f75ca3a15424" providerId="ADAL" clId="{DE0C7E4A-E8D8-4CE7-A8B3-2AF426F55426}" dt="2022-11-23T18:23:50.599" v="2219" actId="478"/>
          <ac:spMkLst>
            <pc:docMk/>
            <pc:sldMk cId="368739473" sldId="272"/>
            <ac:spMk id="7" creationId="{1E04A709-7AF7-4AA9-8019-24CBFF64E0B7}"/>
          </ac:spMkLst>
        </pc:spChg>
        <pc:spChg chg="add del mod">
          <ac:chgData name="Pol Cunyat Llorens" userId="7d9d6803-1d02-4a93-b87d-f75ca3a15424" providerId="ADAL" clId="{DE0C7E4A-E8D8-4CE7-A8B3-2AF426F55426}" dt="2022-11-23T18:23:50.599" v="2219" actId="478"/>
          <ac:spMkLst>
            <pc:docMk/>
            <pc:sldMk cId="368739473" sldId="272"/>
            <ac:spMk id="8" creationId="{A8E94436-49C5-43B8-A0C3-EFBF6AD2CD51}"/>
          </ac:spMkLst>
        </pc:spChg>
        <pc:spChg chg="add mod">
          <ac:chgData name="Pol Cunyat Llorens" userId="7d9d6803-1d02-4a93-b87d-f75ca3a15424" providerId="ADAL" clId="{DE0C7E4A-E8D8-4CE7-A8B3-2AF426F55426}" dt="2022-11-23T18:33:13.583" v="2450" actId="14100"/>
          <ac:spMkLst>
            <pc:docMk/>
            <pc:sldMk cId="368739473" sldId="272"/>
            <ac:spMk id="11" creationId="{CD067F6C-BEAF-401E-B70E-8BD8CF002D86}"/>
          </ac:spMkLst>
        </pc:spChg>
        <pc:spChg chg="add del mod">
          <ac:chgData name="Pol Cunyat Llorens" userId="7d9d6803-1d02-4a93-b87d-f75ca3a15424" providerId="ADAL" clId="{DE0C7E4A-E8D8-4CE7-A8B3-2AF426F55426}" dt="2022-11-23T18:27:17.649" v="2297" actId="478"/>
          <ac:spMkLst>
            <pc:docMk/>
            <pc:sldMk cId="368739473" sldId="272"/>
            <ac:spMk id="12" creationId="{1365F06E-8D6B-4AF7-AF35-7A38A93E5C1D}"/>
          </ac:spMkLst>
        </pc:spChg>
        <pc:spChg chg="add mod">
          <ac:chgData name="Pol Cunyat Llorens" userId="7d9d6803-1d02-4a93-b87d-f75ca3a15424" providerId="ADAL" clId="{DE0C7E4A-E8D8-4CE7-A8B3-2AF426F55426}" dt="2022-11-23T18:31:04.755" v="2392" actId="408"/>
          <ac:spMkLst>
            <pc:docMk/>
            <pc:sldMk cId="368739473" sldId="272"/>
            <ac:spMk id="13" creationId="{CA4CBBC7-29BB-4E53-8A86-7B76F5624550}"/>
          </ac:spMkLst>
        </pc:spChg>
        <pc:spChg chg="add mod">
          <ac:chgData name="Pol Cunyat Llorens" userId="7d9d6803-1d02-4a93-b87d-f75ca3a15424" providerId="ADAL" clId="{DE0C7E4A-E8D8-4CE7-A8B3-2AF426F55426}" dt="2022-11-23T18:31:01.248" v="2390" actId="1076"/>
          <ac:spMkLst>
            <pc:docMk/>
            <pc:sldMk cId="368739473" sldId="272"/>
            <ac:spMk id="14" creationId="{A11E05B8-C5AE-43F5-AAB0-991ECCAF3E25}"/>
          </ac:spMkLst>
        </pc:spChg>
        <pc:spChg chg="add del mod">
          <ac:chgData name="Pol Cunyat Llorens" userId="7d9d6803-1d02-4a93-b87d-f75ca3a15424" providerId="ADAL" clId="{DE0C7E4A-E8D8-4CE7-A8B3-2AF426F55426}" dt="2022-11-23T18:32:05.711" v="2407" actId="478"/>
          <ac:spMkLst>
            <pc:docMk/>
            <pc:sldMk cId="368739473" sldId="272"/>
            <ac:spMk id="15" creationId="{F40B4009-E9A2-4AE8-A5DD-D75988762F31}"/>
          </ac:spMkLst>
        </pc:spChg>
        <pc:spChg chg="add del mod">
          <ac:chgData name="Pol Cunyat Llorens" userId="7d9d6803-1d02-4a93-b87d-f75ca3a15424" providerId="ADAL" clId="{DE0C7E4A-E8D8-4CE7-A8B3-2AF426F55426}" dt="2022-11-23T18:32:04.106" v="2406" actId="478"/>
          <ac:spMkLst>
            <pc:docMk/>
            <pc:sldMk cId="368739473" sldId="272"/>
            <ac:spMk id="16" creationId="{ADD0195D-4DAC-4C55-9A8B-67417396D254}"/>
          </ac:spMkLst>
        </pc:spChg>
        <pc:spChg chg="add mod">
          <ac:chgData name="Pol Cunyat Llorens" userId="7d9d6803-1d02-4a93-b87d-f75ca3a15424" providerId="ADAL" clId="{DE0C7E4A-E8D8-4CE7-A8B3-2AF426F55426}" dt="2022-11-23T18:33:47.215" v="2455" actId="14100"/>
          <ac:spMkLst>
            <pc:docMk/>
            <pc:sldMk cId="368739473" sldId="272"/>
            <ac:spMk id="17" creationId="{26E8A5CF-8847-4140-A8F2-BDD2FD3EE3F5}"/>
          </ac:spMkLst>
        </pc:spChg>
        <pc:spChg chg="add del mod">
          <ac:chgData name="Pol Cunyat Llorens" userId="7d9d6803-1d02-4a93-b87d-f75ca3a15424" providerId="ADAL" clId="{DE0C7E4A-E8D8-4CE7-A8B3-2AF426F55426}" dt="2022-11-23T18:33:57.246" v="2456" actId="478"/>
          <ac:spMkLst>
            <pc:docMk/>
            <pc:sldMk cId="368739473" sldId="272"/>
            <ac:spMk id="18" creationId="{DD8ECB24-58E7-472E-B8AB-CC40F009594C}"/>
          </ac:spMkLst>
        </pc:spChg>
        <pc:spChg chg="add mod">
          <ac:chgData name="Pol Cunyat Llorens" userId="7d9d6803-1d02-4a93-b87d-f75ca3a15424" providerId="ADAL" clId="{DE0C7E4A-E8D8-4CE7-A8B3-2AF426F55426}" dt="2022-11-23T18:34:13.895" v="2460" actId="14100"/>
          <ac:spMkLst>
            <pc:docMk/>
            <pc:sldMk cId="368739473" sldId="272"/>
            <ac:spMk id="19" creationId="{DA1836ED-64F7-4900-8DA5-0D2E75AE5F51}"/>
          </ac:spMkLst>
        </pc:spChg>
        <pc:spChg chg="add mod">
          <ac:chgData name="Pol Cunyat Llorens" userId="7d9d6803-1d02-4a93-b87d-f75ca3a15424" providerId="ADAL" clId="{DE0C7E4A-E8D8-4CE7-A8B3-2AF426F55426}" dt="2022-11-23T18:34:09.551" v="2459" actId="14100"/>
          <ac:spMkLst>
            <pc:docMk/>
            <pc:sldMk cId="368739473" sldId="272"/>
            <ac:spMk id="20" creationId="{A68388A0-F474-4172-B38F-200CEB0A1BBF}"/>
          </ac:spMkLst>
        </pc:spChg>
        <pc:grpChg chg="mod">
          <ac:chgData name="Pol Cunyat Llorens" userId="7d9d6803-1d02-4a93-b87d-f75ca3a15424" providerId="ADAL" clId="{DE0C7E4A-E8D8-4CE7-A8B3-2AF426F55426}" dt="2022-11-23T18:22:28.326" v="2133"/>
          <ac:grpSpMkLst>
            <pc:docMk/>
            <pc:sldMk cId="368739473" sldId="27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22:28.326" v="2133"/>
          <ac:graphicFrameMkLst>
            <pc:docMk/>
            <pc:sldMk cId="368739473" sldId="272"/>
            <ac:graphicFrameMk id="6" creationId="{3C4E2400-2539-4F37-8674-71CF91E3BB73}"/>
          </ac:graphicFrameMkLst>
        </pc:graphicFrameChg>
        <pc:picChg chg="add mod">
          <ac:chgData name="Pol Cunyat Llorens" userId="7d9d6803-1d02-4a93-b87d-f75ca3a15424" providerId="ADAL" clId="{DE0C7E4A-E8D8-4CE7-A8B3-2AF426F55426}" dt="2022-11-23T18:25:41.693" v="2251" actId="207"/>
          <ac:picMkLst>
            <pc:docMk/>
            <pc:sldMk cId="368739473" sldId="272"/>
            <ac:picMk id="10" creationId="{A28D8498-2B6C-45FC-98BA-A1888435697F}"/>
          </ac:picMkLst>
        </pc:picChg>
      </pc:sldChg>
      <pc:sldChg chg="modSp add del">
        <pc:chgData name="Pol Cunyat Llorens" userId="7d9d6803-1d02-4a93-b87d-f75ca3a15424" providerId="ADAL" clId="{DE0C7E4A-E8D8-4CE7-A8B3-2AF426F55426}" dt="2022-11-23T18:17:28.330" v="2066" actId="47"/>
        <pc:sldMkLst>
          <pc:docMk/>
          <pc:sldMk cId="1459393426" sldId="272"/>
        </pc:sldMkLst>
        <pc:grpChg chg="mod">
          <ac:chgData name="Pol Cunyat Llorens" userId="7d9d6803-1d02-4a93-b87d-f75ca3a15424" providerId="ADAL" clId="{DE0C7E4A-E8D8-4CE7-A8B3-2AF426F55426}" dt="2022-11-23T18:06:36.794" v="1702"/>
          <ac:grpSpMkLst>
            <pc:docMk/>
            <pc:sldMk cId="1459393426" sldId="27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8:06:36.794" v="1702"/>
          <ac:graphicFrameMkLst>
            <pc:docMk/>
            <pc:sldMk cId="1459393426" sldId="272"/>
            <ac:graphicFrameMk id="6" creationId="{3C4E2400-2539-4F37-8674-71CF91E3BB73}"/>
          </ac:graphicFrameMkLst>
        </pc:graphicFrameChg>
      </pc:sldChg>
      <pc:sldChg chg="addSp delSp modSp add mod ord modNotes">
        <pc:chgData name="Pol Cunyat Llorens" userId="7d9d6803-1d02-4a93-b87d-f75ca3a15424" providerId="ADAL" clId="{DE0C7E4A-E8D8-4CE7-A8B3-2AF426F55426}" dt="2022-11-23T19:07:55.075" v="5146"/>
        <pc:sldMkLst>
          <pc:docMk/>
          <pc:sldMk cId="1417928212" sldId="273"/>
        </pc:sldMkLst>
        <pc:spChg chg="del mod">
          <ac:chgData name="Pol Cunyat Llorens" userId="7d9d6803-1d02-4a93-b87d-f75ca3a15424" providerId="ADAL" clId="{DE0C7E4A-E8D8-4CE7-A8B3-2AF426F55426}" dt="2022-11-23T18:34:36.654" v="2463" actId="478"/>
          <ac:spMkLst>
            <pc:docMk/>
            <pc:sldMk cId="1417928212" sldId="273"/>
            <ac:spMk id="2" creationId="{854CB30B-3674-4BC2-8980-37B4FC41DAC8}"/>
          </ac:spMkLst>
        </pc:spChg>
        <pc:spChg chg="del mod">
          <ac:chgData name="Pol Cunyat Llorens" userId="7d9d6803-1d02-4a93-b87d-f75ca3a15424" providerId="ADAL" clId="{DE0C7E4A-E8D8-4CE7-A8B3-2AF426F55426}" dt="2022-11-23T18:34:37.955" v="2465" actId="478"/>
          <ac:spMkLst>
            <pc:docMk/>
            <pc:sldMk cId="1417928212" sldId="273"/>
            <ac:spMk id="3" creationId="{25003139-FA22-4A38-B729-A62BB16FC1C0}"/>
          </ac:spMkLst>
        </pc:spChg>
        <pc:spChg chg="del mod">
          <ac:chgData name="Pol Cunyat Llorens" userId="7d9d6803-1d02-4a93-b87d-f75ca3a15424" providerId="ADAL" clId="{DE0C7E4A-E8D8-4CE7-A8B3-2AF426F55426}" dt="2022-11-23T18:38:41.648" v="2534" actId="478"/>
          <ac:spMkLst>
            <pc:docMk/>
            <pc:sldMk cId="1417928212" sldId="273"/>
            <ac:spMk id="4" creationId="{0713D094-5544-4038-A7B6-11AAC3006101}"/>
          </ac:spMkLst>
        </pc:spChg>
        <pc:spChg chg="mod ord">
          <ac:chgData name="Pol Cunyat Llorens" userId="7d9d6803-1d02-4a93-b87d-f75ca3a15424" providerId="ADAL" clId="{DE0C7E4A-E8D8-4CE7-A8B3-2AF426F55426}" dt="2022-11-23T18:55:36.829" v="3868" actId="947"/>
          <ac:spMkLst>
            <pc:docMk/>
            <pc:sldMk cId="1417928212" sldId="273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1" creationId="{CD067F6C-BEAF-401E-B70E-8BD8CF002D86}"/>
          </ac:spMkLst>
        </pc:spChg>
        <pc:spChg chg="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3" creationId="{CA4CBBC7-29BB-4E53-8A86-7B76F5624550}"/>
          </ac:spMkLst>
        </pc:spChg>
        <pc:spChg chg="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4" creationId="{A11E05B8-C5AE-43F5-AAB0-991ECCAF3E25}"/>
          </ac:spMkLst>
        </pc:spChg>
        <pc:spChg chg="add 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5" creationId="{8BB81339-E192-4010-8ECA-9433C3121D6A}"/>
          </ac:spMkLst>
        </pc:spChg>
        <pc:spChg chg="add 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6" creationId="{AA30AF37-C04D-4EE4-BAAD-F767CCE3694A}"/>
          </ac:spMkLst>
        </pc:spChg>
        <pc:spChg chg="mod ord">
          <ac:chgData name="Pol Cunyat Llorens" userId="7d9d6803-1d02-4a93-b87d-f75ca3a15424" providerId="ADAL" clId="{DE0C7E4A-E8D8-4CE7-A8B3-2AF426F55426}" dt="2022-11-23T18:58:05.679" v="4707" actId="164"/>
          <ac:spMkLst>
            <pc:docMk/>
            <pc:sldMk cId="1417928212" sldId="273"/>
            <ac:spMk id="17" creationId="{26E8A5CF-8847-4140-A8F2-BDD2FD3EE3F5}"/>
          </ac:spMkLst>
        </pc:spChg>
        <pc:spChg chg="del mod">
          <ac:chgData name="Pol Cunyat Llorens" userId="7d9d6803-1d02-4a93-b87d-f75ca3a15424" providerId="ADAL" clId="{DE0C7E4A-E8D8-4CE7-A8B3-2AF426F55426}" dt="2022-11-23T18:35:28.486" v="2477" actId="478"/>
          <ac:spMkLst>
            <pc:docMk/>
            <pc:sldMk cId="1417928212" sldId="273"/>
            <ac:spMk id="19" creationId="{DA1836ED-64F7-4900-8DA5-0D2E75AE5F51}"/>
          </ac:spMkLst>
        </pc:spChg>
        <pc:spChg chg="del mod">
          <ac:chgData name="Pol Cunyat Llorens" userId="7d9d6803-1d02-4a93-b87d-f75ca3a15424" providerId="ADAL" clId="{DE0C7E4A-E8D8-4CE7-A8B3-2AF426F55426}" dt="2022-11-23T18:35:27.932" v="2476" actId="478"/>
          <ac:spMkLst>
            <pc:docMk/>
            <pc:sldMk cId="1417928212" sldId="273"/>
            <ac:spMk id="20" creationId="{A68388A0-F474-4172-B38F-200CEB0A1BBF}"/>
          </ac:spMkLst>
        </pc:spChg>
        <pc:grpChg chg="mod">
          <ac:chgData name="Pol Cunyat Llorens" userId="7d9d6803-1d02-4a93-b87d-f75ca3a15424" providerId="ADAL" clId="{DE0C7E4A-E8D8-4CE7-A8B3-2AF426F55426}" dt="2022-11-23T18:34:33.661" v="2462"/>
          <ac:grpSpMkLst>
            <pc:docMk/>
            <pc:sldMk cId="1417928212" sldId="273"/>
            <ac:grpSpMk id="1" creationId="{00000000-0000-0000-0000-000000000000}"/>
          </ac:grpSpMkLst>
        </pc:grpChg>
        <pc:grpChg chg="add mod">
          <ac:chgData name="Pol Cunyat Llorens" userId="7d9d6803-1d02-4a93-b87d-f75ca3a15424" providerId="ADAL" clId="{DE0C7E4A-E8D8-4CE7-A8B3-2AF426F55426}" dt="2022-11-23T18:58:17.478" v="4719" actId="1036"/>
          <ac:grpSpMkLst>
            <pc:docMk/>
            <pc:sldMk cId="1417928212" sldId="273"/>
            <ac:grpSpMk id="24" creationId="{293BD8AE-AA88-4E4E-B4B6-365589D5D202}"/>
          </ac:grpSpMkLst>
        </pc:grpChg>
        <pc:graphicFrameChg chg="mod">
          <ac:chgData name="Pol Cunyat Llorens" userId="7d9d6803-1d02-4a93-b87d-f75ca3a15424" providerId="ADAL" clId="{DE0C7E4A-E8D8-4CE7-A8B3-2AF426F55426}" dt="2022-11-23T18:55:38.648" v="4650"/>
          <ac:graphicFrameMkLst>
            <pc:docMk/>
            <pc:sldMk cId="1417928212" sldId="273"/>
            <ac:graphicFrameMk id="6" creationId="{3C4E2400-2539-4F37-8674-71CF91E3BB73}"/>
          </ac:graphicFrameMkLst>
        </pc:graphicFrameChg>
        <pc:picChg chg="add del mod">
          <ac:chgData name="Pol Cunyat Llorens" userId="7d9d6803-1d02-4a93-b87d-f75ca3a15424" providerId="ADAL" clId="{DE0C7E4A-E8D8-4CE7-A8B3-2AF426F55426}" dt="2022-11-23T18:36:50.603" v="2503" actId="478"/>
          <ac:picMkLst>
            <pc:docMk/>
            <pc:sldMk cId="1417928212" sldId="273"/>
            <ac:picMk id="8" creationId="{05D15C66-B132-4102-AB36-17BBCC0B428C}"/>
          </ac:picMkLst>
        </pc:picChg>
        <pc:picChg chg="del mod">
          <ac:chgData name="Pol Cunyat Llorens" userId="7d9d6803-1d02-4a93-b87d-f75ca3a15424" providerId="ADAL" clId="{DE0C7E4A-E8D8-4CE7-A8B3-2AF426F55426}" dt="2022-11-23T18:34:37.465" v="2464" actId="478"/>
          <ac:picMkLst>
            <pc:docMk/>
            <pc:sldMk cId="1417928212" sldId="273"/>
            <ac:picMk id="10" creationId="{A28D8498-2B6C-45FC-98BA-A1888435697F}"/>
          </ac:picMkLst>
        </pc:picChg>
        <pc:picChg chg="add mod ord">
          <ac:chgData name="Pol Cunyat Llorens" userId="7d9d6803-1d02-4a93-b87d-f75ca3a15424" providerId="ADAL" clId="{DE0C7E4A-E8D8-4CE7-A8B3-2AF426F55426}" dt="2022-11-23T18:58:05.679" v="4707" actId="164"/>
          <ac:picMkLst>
            <pc:docMk/>
            <pc:sldMk cId="1417928212" sldId="273"/>
            <ac:picMk id="12" creationId="{B915E89A-AC5C-4158-8817-BA2F370BDAB1}"/>
          </ac:picMkLst>
        </pc:picChg>
        <pc:picChg chg="add mod ord">
          <ac:chgData name="Pol Cunyat Llorens" userId="7d9d6803-1d02-4a93-b87d-f75ca3a15424" providerId="ADAL" clId="{DE0C7E4A-E8D8-4CE7-A8B3-2AF426F55426}" dt="2022-11-23T18:58:05.679" v="4707" actId="164"/>
          <ac:picMkLst>
            <pc:docMk/>
            <pc:sldMk cId="1417928212" sldId="273"/>
            <ac:picMk id="21" creationId="{7A1756A5-EDDE-4F18-8B90-62875F82E12D}"/>
          </ac:picMkLst>
        </pc:picChg>
        <pc:picChg chg="add mod ord">
          <ac:chgData name="Pol Cunyat Llorens" userId="7d9d6803-1d02-4a93-b87d-f75ca3a15424" providerId="ADAL" clId="{DE0C7E4A-E8D8-4CE7-A8B3-2AF426F55426}" dt="2022-11-23T18:58:05.679" v="4707" actId="164"/>
          <ac:picMkLst>
            <pc:docMk/>
            <pc:sldMk cId="1417928212" sldId="273"/>
            <ac:picMk id="23" creationId="{2915D073-2B1C-46E9-8C9E-F3973FD30CCA}"/>
          </ac:picMkLst>
        </pc:picChg>
      </pc:sldChg>
      <pc:sldChg chg="addSp modSp add mod">
        <pc:chgData name="Pol Cunyat Llorens" userId="7d9d6803-1d02-4a93-b87d-f75ca3a15424" providerId="ADAL" clId="{DE0C7E4A-E8D8-4CE7-A8B3-2AF426F55426}" dt="2022-11-23T19:06:24.554" v="5087"/>
        <pc:sldMkLst>
          <pc:docMk/>
          <pc:sldMk cId="776263769" sldId="274"/>
        </pc:sldMkLst>
        <pc:spChg chg="mod ord">
          <ac:chgData name="Pol Cunyat Llorens" userId="7d9d6803-1d02-4a93-b87d-f75ca3a15424" providerId="ADAL" clId="{DE0C7E4A-E8D8-4CE7-A8B3-2AF426F55426}" dt="2022-11-23T19:06:24.547" v="5061"/>
          <ac:spMkLst>
            <pc:docMk/>
            <pc:sldMk cId="776263769" sldId="274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9:06:24.548" v="5069"/>
          <ac:spMkLst>
            <pc:docMk/>
            <pc:sldMk cId="776263769" sldId="274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DE0C7E4A-E8D8-4CE7-A8B3-2AF426F55426}" dt="2022-11-23T19:06:24.550" v="5083"/>
          <ac:spMkLst>
            <pc:docMk/>
            <pc:sldMk cId="776263769" sldId="274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9:06:24.546" v="5059"/>
          <ac:spMkLst>
            <pc:docMk/>
            <pc:sldMk cId="776263769" sldId="274"/>
            <ac:spMk id="5" creationId="{CFD70945-C5A1-42DE-AB29-2B84D5CB0D72}"/>
          </ac:spMkLst>
        </pc:spChg>
        <pc:spChg chg="add mod ord">
          <ac:chgData name="Pol Cunyat Llorens" userId="7d9d6803-1d02-4a93-b87d-f75ca3a15424" providerId="ADAL" clId="{DE0C7E4A-E8D8-4CE7-A8B3-2AF426F55426}" dt="2022-11-23T19:06:24.550" v="5081"/>
          <ac:spMkLst>
            <pc:docMk/>
            <pc:sldMk cId="776263769" sldId="274"/>
            <ac:spMk id="7" creationId="{B61066B3-138F-402F-BD60-C1DDC1E53FE9}"/>
          </ac:spMkLst>
        </pc:spChg>
        <pc:spChg chg="mod ord">
          <ac:chgData name="Pol Cunyat Llorens" userId="7d9d6803-1d02-4a93-b87d-f75ca3a15424" providerId="ADAL" clId="{DE0C7E4A-E8D8-4CE7-A8B3-2AF426F55426}" dt="2022-11-23T19:06:24.547" v="5063"/>
          <ac:spMkLst>
            <pc:docMk/>
            <pc:sldMk cId="776263769" sldId="274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9:06:24.547" v="5065"/>
          <ac:spMkLst>
            <pc:docMk/>
            <pc:sldMk cId="776263769" sldId="274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9:06:24.548" v="5067"/>
          <ac:spMkLst>
            <pc:docMk/>
            <pc:sldMk cId="776263769" sldId="274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9:06:24.549" v="5071"/>
          <ac:spMkLst>
            <pc:docMk/>
            <pc:sldMk cId="776263769" sldId="274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9:06:24.549" v="5073"/>
          <ac:spMkLst>
            <pc:docMk/>
            <pc:sldMk cId="776263769" sldId="274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9:06:24.549" v="5075"/>
          <ac:spMkLst>
            <pc:docMk/>
            <pc:sldMk cId="776263769" sldId="274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9:06:24.550" v="5077"/>
          <ac:spMkLst>
            <pc:docMk/>
            <pc:sldMk cId="776263769" sldId="274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9:06:24.550" v="5079"/>
          <ac:spMkLst>
            <pc:docMk/>
            <pc:sldMk cId="776263769" sldId="274"/>
            <ac:spMk id="15" creationId="{F9242B69-1198-4D48-9F56-29D195B89A0E}"/>
          </ac:spMkLst>
        </pc:spChg>
        <pc:grpChg chg="mod">
          <ac:chgData name="Pol Cunyat Llorens" userId="7d9d6803-1d02-4a93-b87d-f75ca3a15424" providerId="ADAL" clId="{DE0C7E4A-E8D8-4CE7-A8B3-2AF426F55426}" dt="2022-11-23T19:05:51.124" v="5005"/>
          <ac:grpSpMkLst>
            <pc:docMk/>
            <pc:sldMk cId="776263769" sldId="274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6:24.554" v="5087"/>
          <ac:graphicFrameMkLst>
            <pc:docMk/>
            <pc:sldMk cId="776263769" sldId="274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DE0C7E4A-E8D8-4CE7-A8B3-2AF426F55426}" dt="2022-11-23T19:06:24.551" v="5085"/>
          <ac:picMkLst>
            <pc:docMk/>
            <pc:sldMk cId="776263769" sldId="274"/>
            <ac:picMk id="17" creationId="{50EC3490-CAB4-4915-A5ED-1A0570DC5F3F}"/>
          </ac:picMkLst>
        </pc:picChg>
      </pc:sldChg>
      <pc:sldChg chg="addSp modSp add del mod">
        <pc:chgData name="Pol Cunyat Llorens" userId="7d9d6803-1d02-4a93-b87d-f75ca3a15424" providerId="ADAL" clId="{DE0C7E4A-E8D8-4CE7-A8B3-2AF426F55426}" dt="2022-11-23T19:07:39.031" v="5144" actId="47"/>
        <pc:sldMkLst>
          <pc:docMk/>
          <pc:sldMk cId="3739820800" sldId="275"/>
        </pc:sldMkLst>
        <pc:spChg chg="mod ord">
          <ac:chgData name="Pol Cunyat Llorens" userId="7d9d6803-1d02-4a93-b87d-f75ca3a15424" providerId="ADAL" clId="{DE0C7E4A-E8D8-4CE7-A8B3-2AF426F55426}" dt="2022-11-23T19:06:43.345" v="5098"/>
          <ac:spMkLst>
            <pc:docMk/>
            <pc:sldMk cId="3739820800" sldId="275"/>
            <ac:spMk id="2" creationId="{BF9625A9-3881-40EF-9963-87439A3E152D}"/>
          </ac:spMkLst>
        </pc:spChg>
        <pc:spChg chg="mod ord">
          <ac:chgData name="Pol Cunyat Llorens" userId="7d9d6803-1d02-4a93-b87d-f75ca3a15424" providerId="ADAL" clId="{DE0C7E4A-E8D8-4CE7-A8B3-2AF426F55426}" dt="2022-11-23T19:06:43.346" v="5106"/>
          <ac:spMkLst>
            <pc:docMk/>
            <pc:sldMk cId="3739820800" sldId="275"/>
            <ac:spMk id="3" creationId="{B3498ED1-1AF4-44F8-9B31-57A988170717}"/>
          </ac:spMkLst>
        </pc:spChg>
        <pc:spChg chg="mod ord">
          <ac:chgData name="Pol Cunyat Llorens" userId="7d9d6803-1d02-4a93-b87d-f75ca3a15424" providerId="ADAL" clId="{DE0C7E4A-E8D8-4CE7-A8B3-2AF426F55426}" dt="2022-11-23T19:06:43.350" v="5122"/>
          <ac:spMkLst>
            <pc:docMk/>
            <pc:sldMk cId="3739820800" sldId="275"/>
            <ac:spMk id="4" creationId="{BBC82C2D-E41F-49E2-8007-44644A91969C}"/>
          </ac:spMkLst>
        </pc:spChg>
        <pc:spChg chg="mod ord">
          <ac:chgData name="Pol Cunyat Llorens" userId="7d9d6803-1d02-4a93-b87d-f75ca3a15424" providerId="ADAL" clId="{DE0C7E4A-E8D8-4CE7-A8B3-2AF426F55426}" dt="2022-11-23T19:06:43.345" v="5096"/>
          <ac:spMkLst>
            <pc:docMk/>
            <pc:sldMk cId="3739820800" sldId="275"/>
            <ac:spMk id="5" creationId="{CFD70945-C5A1-42DE-AB29-2B84D5CB0D72}"/>
          </ac:spMkLst>
        </pc:spChg>
        <pc:spChg chg="mod ord">
          <ac:chgData name="Pol Cunyat Llorens" userId="7d9d6803-1d02-4a93-b87d-f75ca3a15424" providerId="ADAL" clId="{DE0C7E4A-E8D8-4CE7-A8B3-2AF426F55426}" dt="2022-11-23T19:06:43.349" v="5118"/>
          <ac:spMkLst>
            <pc:docMk/>
            <pc:sldMk cId="3739820800" sldId="275"/>
            <ac:spMk id="7" creationId="{B61066B3-138F-402F-BD60-C1DDC1E53FE9}"/>
          </ac:spMkLst>
        </pc:spChg>
        <pc:spChg chg="mod ord">
          <ac:chgData name="Pol Cunyat Llorens" userId="7d9d6803-1d02-4a93-b87d-f75ca3a15424" providerId="ADAL" clId="{DE0C7E4A-E8D8-4CE7-A8B3-2AF426F55426}" dt="2022-11-23T19:06:43.346" v="5100"/>
          <ac:spMkLst>
            <pc:docMk/>
            <pc:sldMk cId="3739820800" sldId="275"/>
            <ac:spMk id="8" creationId="{EB0ED3C1-CE79-4BA7-901A-8FCA9F5CF627}"/>
          </ac:spMkLst>
        </pc:spChg>
        <pc:spChg chg="mod ord">
          <ac:chgData name="Pol Cunyat Llorens" userId="7d9d6803-1d02-4a93-b87d-f75ca3a15424" providerId="ADAL" clId="{DE0C7E4A-E8D8-4CE7-A8B3-2AF426F55426}" dt="2022-11-23T19:06:43.346" v="5102"/>
          <ac:spMkLst>
            <pc:docMk/>
            <pc:sldMk cId="3739820800" sldId="275"/>
            <ac:spMk id="9" creationId="{A1ECF1AE-AD9F-490F-A87F-41E553B2D773}"/>
          </ac:spMkLst>
        </pc:spChg>
        <pc:spChg chg="mod ord">
          <ac:chgData name="Pol Cunyat Llorens" userId="7d9d6803-1d02-4a93-b87d-f75ca3a15424" providerId="ADAL" clId="{DE0C7E4A-E8D8-4CE7-A8B3-2AF426F55426}" dt="2022-11-23T19:06:43.346" v="5104"/>
          <ac:spMkLst>
            <pc:docMk/>
            <pc:sldMk cId="3739820800" sldId="275"/>
            <ac:spMk id="10" creationId="{CC06FDDC-3AFE-46BB-A11E-D5052C877A2C}"/>
          </ac:spMkLst>
        </pc:spChg>
        <pc:spChg chg="mod ord">
          <ac:chgData name="Pol Cunyat Llorens" userId="7d9d6803-1d02-4a93-b87d-f75ca3a15424" providerId="ADAL" clId="{DE0C7E4A-E8D8-4CE7-A8B3-2AF426F55426}" dt="2022-11-23T19:06:43.348" v="5108"/>
          <ac:spMkLst>
            <pc:docMk/>
            <pc:sldMk cId="3739820800" sldId="275"/>
            <ac:spMk id="11" creationId="{218831C7-EAF4-4F7F-A0A3-6F11C779C467}"/>
          </ac:spMkLst>
        </pc:spChg>
        <pc:spChg chg="mod ord">
          <ac:chgData name="Pol Cunyat Llorens" userId="7d9d6803-1d02-4a93-b87d-f75ca3a15424" providerId="ADAL" clId="{DE0C7E4A-E8D8-4CE7-A8B3-2AF426F55426}" dt="2022-11-23T19:06:43.348" v="5110"/>
          <ac:spMkLst>
            <pc:docMk/>
            <pc:sldMk cId="3739820800" sldId="275"/>
            <ac:spMk id="12" creationId="{BD23D77A-C2C4-4908-BF83-C34AF3DF6629}"/>
          </ac:spMkLst>
        </pc:spChg>
        <pc:spChg chg="mod ord">
          <ac:chgData name="Pol Cunyat Llorens" userId="7d9d6803-1d02-4a93-b87d-f75ca3a15424" providerId="ADAL" clId="{DE0C7E4A-E8D8-4CE7-A8B3-2AF426F55426}" dt="2022-11-23T19:06:43.348" v="5112"/>
          <ac:spMkLst>
            <pc:docMk/>
            <pc:sldMk cId="3739820800" sldId="275"/>
            <ac:spMk id="13" creationId="{1663EC59-A97D-48AB-95CA-489B05B19A6C}"/>
          </ac:spMkLst>
        </pc:spChg>
        <pc:spChg chg="mod ord">
          <ac:chgData name="Pol Cunyat Llorens" userId="7d9d6803-1d02-4a93-b87d-f75ca3a15424" providerId="ADAL" clId="{DE0C7E4A-E8D8-4CE7-A8B3-2AF426F55426}" dt="2022-11-23T19:06:43.349" v="5114"/>
          <ac:spMkLst>
            <pc:docMk/>
            <pc:sldMk cId="3739820800" sldId="275"/>
            <ac:spMk id="14" creationId="{C3F2BC44-DC60-40F0-B9CC-158F91A88998}"/>
          </ac:spMkLst>
        </pc:spChg>
        <pc:spChg chg="mod ord">
          <ac:chgData name="Pol Cunyat Llorens" userId="7d9d6803-1d02-4a93-b87d-f75ca3a15424" providerId="ADAL" clId="{DE0C7E4A-E8D8-4CE7-A8B3-2AF426F55426}" dt="2022-11-23T19:06:43.349" v="5116"/>
          <ac:spMkLst>
            <pc:docMk/>
            <pc:sldMk cId="3739820800" sldId="275"/>
            <ac:spMk id="15" creationId="{F9242B69-1198-4D48-9F56-29D195B89A0E}"/>
          </ac:spMkLst>
        </pc:spChg>
        <pc:spChg chg="add mod ord">
          <ac:chgData name="Pol Cunyat Llorens" userId="7d9d6803-1d02-4a93-b87d-f75ca3a15424" providerId="ADAL" clId="{DE0C7E4A-E8D8-4CE7-A8B3-2AF426F55426}" dt="2022-11-23T19:06:43.350" v="5120"/>
          <ac:spMkLst>
            <pc:docMk/>
            <pc:sldMk cId="3739820800" sldId="275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6:28.652" v="5089"/>
          <ac:grpSpMkLst>
            <pc:docMk/>
            <pc:sldMk cId="3739820800" sldId="275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6:43.352" v="5126"/>
          <ac:graphicFrameMkLst>
            <pc:docMk/>
            <pc:sldMk cId="3739820800" sldId="275"/>
            <ac:graphicFrameMk id="6" creationId="{3C4E2400-2539-4F37-8674-71CF91E3BB73}"/>
          </ac:graphicFrameMkLst>
        </pc:graphicFrameChg>
        <pc:picChg chg="mod ord">
          <ac:chgData name="Pol Cunyat Llorens" userId="7d9d6803-1d02-4a93-b87d-f75ca3a15424" providerId="ADAL" clId="{DE0C7E4A-E8D8-4CE7-A8B3-2AF426F55426}" dt="2022-11-23T19:06:43.350" v="5124"/>
          <ac:picMkLst>
            <pc:docMk/>
            <pc:sldMk cId="3739820800" sldId="275"/>
            <ac:picMk id="17" creationId="{50EC3490-CAB4-4915-A5ED-1A0570DC5F3F}"/>
          </ac:picMkLst>
        </pc:picChg>
      </pc:sldChg>
      <pc:sldChg chg="modSp add">
        <pc:chgData name="Pol Cunyat Llorens" userId="7d9d6803-1d02-4a93-b87d-f75ca3a15424" providerId="ADAL" clId="{DE0C7E4A-E8D8-4CE7-A8B3-2AF426F55426}" dt="2022-11-23T19:06:51.531" v="5128"/>
        <pc:sldMkLst>
          <pc:docMk/>
          <pc:sldMk cId="1985110662" sldId="276"/>
        </pc:sldMkLst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7" creationId="{B61066B3-138F-402F-BD60-C1DDC1E53FE9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9:06:51.531" v="5128"/>
          <ac:spMkLst>
            <pc:docMk/>
            <pc:sldMk cId="1985110662" sldId="276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6:51.531" v="5128"/>
          <ac:grpSpMkLst>
            <pc:docMk/>
            <pc:sldMk cId="1985110662" sldId="276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6:51.531" v="5128"/>
          <ac:graphicFrameMkLst>
            <pc:docMk/>
            <pc:sldMk cId="1985110662" sldId="276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9:06:51.531" v="5128"/>
          <ac:picMkLst>
            <pc:docMk/>
            <pc:sldMk cId="1985110662" sldId="276"/>
            <ac:picMk id="17" creationId="{50EC3490-CAB4-4915-A5ED-1A0570DC5F3F}"/>
          </ac:picMkLst>
        </pc:picChg>
      </pc:sldChg>
      <pc:sldChg chg="modSp add mod">
        <pc:chgData name="Pol Cunyat Llorens" userId="7d9d6803-1d02-4a93-b87d-f75ca3a15424" providerId="ADAL" clId="{DE0C7E4A-E8D8-4CE7-A8B3-2AF426F55426}" dt="2022-11-23T19:07:02.529" v="5132" actId="14100"/>
        <pc:sldMkLst>
          <pc:docMk/>
          <pc:sldMk cId="3249601383" sldId="277"/>
        </pc:sldMkLst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9:07:00.248" v="5131" actId="14100"/>
          <ac:spMkLst>
            <pc:docMk/>
            <pc:sldMk cId="3249601383" sldId="277"/>
            <ac:spMk id="7" creationId="{B61066B3-138F-402F-BD60-C1DDC1E53FE9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9:06:56.029" v="5130"/>
          <ac:spMkLst>
            <pc:docMk/>
            <pc:sldMk cId="3249601383" sldId="277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9:07:02.529" v="5132" actId="14100"/>
          <ac:spMkLst>
            <pc:docMk/>
            <pc:sldMk cId="3249601383" sldId="277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6:56.029" v="5130"/>
          <ac:grpSpMkLst>
            <pc:docMk/>
            <pc:sldMk cId="3249601383" sldId="277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6:56.029" v="5130"/>
          <ac:graphicFrameMkLst>
            <pc:docMk/>
            <pc:sldMk cId="3249601383" sldId="277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9:06:56.029" v="5130"/>
          <ac:picMkLst>
            <pc:docMk/>
            <pc:sldMk cId="3249601383" sldId="277"/>
            <ac:picMk id="17" creationId="{50EC3490-CAB4-4915-A5ED-1A0570DC5F3F}"/>
          </ac:picMkLst>
        </pc:picChg>
      </pc:sldChg>
      <pc:sldChg chg="modSp add mod">
        <pc:chgData name="Pol Cunyat Llorens" userId="7d9d6803-1d02-4a93-b87d-f75ca3a15424" providerId="ADAL" clId="{DE0C7E4A-E8D8-4CE7-A8B3-2AF426F55426}" dt="2022-11-23T19:07:24.576" v="5139" actId="14100"/>
        <pc:sldMkLst>
          <pc:docMk/>
          <pc:sldMk cId="3604296871" sldId="278"/>
        </pc:sldMkLst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5" creationId="{CFD70945-C5A1-42DE-AB29-2B84D5CB0D72}"/>
          </ac:spMkLst>
        </pc:spChg>
        <pc:spChg chg="mod">
          <ac:chgData name="Pol Cunyat Llorens" userId="7d9d6803-1d02-4a93-b87d-f75ca3a15424" providerId="ADAL" clId="{DE0C7E4A-E8D8-4CE7-A8B3-2AF426F55426}" dt="2022-11-23T19:07:22.305" v="5138" actId="14100"/>
          <ac:spMkLst>
            <pc:docMk/>
            <pc:sldMk cId="3604296871" sldId="278"/>
            <ac:spMk id="7" creationId="{B61066B3-138F-402F-BD60-C1DDC1E53FE9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9:07:18.725" v="5137"/>
          <ac:spMkLst>
            <pc:docMk/>
            <pc:sldMk cId="3604296871" sldId="278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9:07:24.576" v="5139" actId="14100"/>
          <ac:spMkLst>
            <pc:docMk/>
            <pc:sldMk cId="3604296871" sldId="278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7:18.725" v="5137"/>
          <ac:grpSpMkLst>
            <pc:docMk/>
            <pc:sldMk cId="3604296871" sldId="278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7:18.725" v="5137"/>
          <ac:graphicFrameMkLst>
            <pc:docMk/>
            <pc:sldMk cId="3604296871" sldId="278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9:07:18.725" v="5137"/>
          <ac:picMkLst>
            <pc:docMk/>
            <pc:sldMk cId="3604296871" sldId="278"/>
            <ac:picMk id="17" creationId="{50EC3490-CAB4-4915-A5ED-1A0570DC5F3F}"/>
          </ac:picMkLst>
        </pc:picChg>
      </pc:sldChg>
      <pc:sldChg chg="delSp modSp add mod">
        <pc:chgData name="Pol Cunyat Llorens" userId="7d9d6803-1d02-4a93-b87d-f75ca3a15424" providerId="ADAL" clId="{DE0C7E4A-E8D8-4CE7-A8B3-2AF426F55426}" dt="2022-11-23T19:07:32.448" v="5143" actId="14100"/>
        <pc:sldMkLst>
          <pc:docMk/>
          <pc:sldMk cId="2015615855" sldId="279"/>
        </pc:sldMkLst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2" creationId="{BF9625A9-3881-40EF-9963-87439A3E152D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3" creationId="{B3498ED1-1AF4-44F8-9B31-57A988170717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4" creationId="{BBC82C2D-E41F-49E2-8007-44644A91969C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5" creationId="{CFD70945-C5A1-42DE-AB29-2B84D5CB0D72}"/>
          </ac:spMkLst>
        </pc:spChg>
        <pc:spChg chg="del mod">
          <ac:chgData name="Pol Cunyat Llorens" userId="7d9d6803-1d02-4a93-b87d-f75ca3a15424" providerId="ADAL" clId="{DE0C7E4A-E8D8-4CE7-A8B3-2AF426F55426}" dt="2022-11-23T19:07:30.265" v="5142" actId="478"/>
          <ac:spMkLst>
            <pc:docMk/>
            <pc:sldMk cId="2015615855" sldId="279"/>
            <ac:spMk id="7" creationId="{B61066B3-138F-402F-BD60-C1DDC1E53FE9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8" creationId="{EB0ED3C1-CE79-4BA7-901A-8FCA9F5CF627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9" creationId="{A1ECF1AE-AD9F-490F-A87F-41E553B2D773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0" creationId="{CC06FDDC-3AFE-46BB-A11E-D5052C877A2C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1" creationId="{218831C7-EAF4-4F7F-A0A3-6F11C779C467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2" creationId="{BD23D77A-C2C4-4908-BF83-C34AF3DF6629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3" creationId="{1663EC59-A97D-48AB-95CA-489B05B19A6C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4" creationId="{C3F2BC44-DC60-40F0-B9CC-158F91A88998}"/>
          </ac:spMkLst>
        </pc:spChg>
        <pc:spChg chg="mod">
          <ac:chgData name="Pol Cunyat Llorens" userId="7d9d6803-1d02-4a93-b87d-f75ca3a15424" providerId="ADAL" clId="{DE0C7E4A-E8D8-4CE7-A8B3-2AF426F55426}" dt="2022-11-23T19:07:28.457" v="5141"/>
          <ac:spMkLst>
            <pc:docMk/>
            <pc:sldMk cId="2015615855" sldId="279"/>
            <ac:spMk id="15" creationId="{F9242B69-1198-4D48-9F56-29D195B89A0E}"/>
          </ac:spMkLst>
        </pc:spChg>
        <pc:spChg chg="mod">
          <ac:chgData name="Pol Cunyat Llorens" userId="7d9d6803-1d02-4a93-b87d-f75ca3a15424" providerId="ADAL" clId="{DE0C7E4A-E8D8-4CE7-A8B3-2AF426F55426}" dt="2022-11-23T19:07:32.448" v="5143" actId="14100"/>
          <ac:spMkLst>
            <pc:docMk/>
            <pc:sldMk cId="2015615855" sldId="279"/>
            <ac:spMk id="18" creationId="{B80A9673-0351-4B5D-825D-7ED8C7ACC368}"/>
          </ac:spMkLst>
        </pc:spChg>
        <pc:grpChg chg="mod">
          <ac:chgData name="Pol Cunyat Llorens" userId="7d9d6803-1d02-4a93-b87d-f75ca3a15424" providerId="ADAL" clId="{DE0C7E4A-E8D8-4CE7-A8B3-2AF426F55426}" dt="2022-11-23T19:07:28.457" v="5141"/>
          <ac:grpSpMkLst>
            <pc:docMk/>
            <pc:sldMk cId="2015615855" sldId="279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7:28.457" v="5141"/>
          <ac:graphicFrameMkLst>
            <pc:docMk/>
            <pc:sldMk cId="2015615855" sldId="279"/>
            <ac:graphicFrameMk id="6" creationId="{3C4E2400-2539-4F37-8674-71CF91E3BB73}"/>
          </ac:graphicFrameMkLst>
        </pc:graphicFrameChg>
        <pc:picChg chg="mod">
          <ac:chgData name="Pol Cunyat Llorens" userId="7d9d6803-1d02-4a93-b87d-f75ca3a15424" providerId="ADAL" clId="{DE0C7E4A-E8D8-4CE7-A8B3-2AF426F55426}" dt="2022-11-23T19:07:28.457" v="5141"/>
          <ac:picMkLst>
            <pc:docMk/>
            <pc:sldMk cId="2015615855" sldId="279"/>
            <ac:picMk id="17" creationId="{50EC3490-CAB4-4915-A5ED-1A0570DC5F3F}"/>
          </ac:picMkLst>
        </pc:picChg>
      </pc:sldChg>
      <pc:sldChg chg="modSp add mod">
        <pc:chgData name="Pol Cunyat Llorens" userId="7d9d6803-1d02-4a93-b87d-f75ca3a15424" providerId="ADAL" clId="{DE0C7E4A-E8D8-4CE7-A8B3-2AF426F55426}" dt="2022-11-24T07:21:27.655" v="5256"/>
        <pc:sldMkLst>
          <pc:docMk/>
          <pc:sldMk cId="1327079639" sldId="280"/>
        </pc:sldMkLst>
        <pc:spChg chg="mod">
          <ac:chgData name="Pol Cunyat Llorens" userId="7d9d6803-1d02-4a93-b87d-f75ca3a15424" providerId="ADAL" clId="{DE0C7E4A-E8D8-4CE7-A8B3-2AF426F55426}" dt="2022-11-23T19:08:15.533" v="5148"/>
          <ac:spMkLst>
            <pc:docMk/>
            <pc:sldMk cId="1327079639" sldId="280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1:27.655" v="5256"/>
          <ac:spMkLst>
            <pc:docMk/>
            <pc:sldMk cId="1327079639" sldId="280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9:08:15.533" v="5148"/>
          <ac:grpSpMkLst>
            <pc:docMk/>
            <pc:sldMk cId="1327079639" sldId="280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8:15.533" v="5148"/>
          <ac:graphicFrameMkLst>
            <pc:docMk/>
            <pc:sldMk cId="1327079639" sldId="280"/>
            <ac:graphicFrameMk id="6" creationId="{3C4E2400-2539-4F37-8674-71CF91E3BB73}"/>
          </ac:graphicFrameMkLst>
        </pc:graphicFrameChg>
      </pc:sldChg>
      <pc:sldChg chg="addSp delSp modSp add mod ord">
        <pc:chgData name="Pol Cunyat Llorens" userId="7d9d6803-1d02-4a93-b87d-f75ca3a15424" providerId="ADAL" clId="{DE0C7E4A-E8D8-4CE7-A8B3-2AF426F55426}" dt="2022-11-24T08:02:56.821" v="5329" actId="1076"/>
        <pc:sldMkLst>
          <pc:docMk/>
          <pc:sldMk cId="831192321" sldId="281"/>
        </pc:sldMkLst>
        <pc:spChg chg="mod">
          <ac:chgData name="Pol Cunyat Llorens" userId="7d9d6803-1d02-4a93-b87d-f75ca3a15424" providerId="ADAL" clId="{DE0C7E4A-E8D8-4CE7-A8B3-2AF426F55426}" dt="2022-11-23T19:08:20.016" v="5152"/>
          <ac:spMkLst>
            <pc:docMk/>
            <pc:sldMk cId="831192321" sldId="281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0:09.463" v="5211" actId="20577"/>
          <ac:spMkLst>
            <pc:docMk/>
            <pc:sldMk cId="831192321" sldId="281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9:08:20.016" v="5152"/>
          <ac:grpSpMkLst>
            <pc:docMk/>
            <pc:sldMk cId="831192321" sldId="281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8:20.016" v="5152"/>
          <ac:graphicFrameMkLst>
            <pc:docMk/>
            <pc:sldMk cId="831192321" sldId="281"/>
            <ac:graphicFrameMk id="6" creationId="{3C4E2400-2539-4F37-8674-71CF91E3BB73}"/>
          </ac:graphicFrameMkLst>
        </pc:graphicFrameChg>
        <pc:picChg chg="add">
          <ac:chgData name="Pol Cunyat Llorens" userId="7d9d6803-1d02-4a93-b87d-f75ca3a15424" providerId="ADAL" clId="{DE0C7E4A-E8D8-4CE7-A8B3-2AF426F55426}" dt="2022-11-24T08:00:59.308" v="5320"/>
          <ac:picMkLst>
            <pc:docMk/>
            <pc:sldMk cId="831192321" sldId="281"/>
            <ac:picMk id="3" creationId="{831BCC1A-22B6-4F2A-B46C-172DC034A6E7}"/>
          </ac:picMkLst>
        </pc:picChg>
        <pc:picChg chg="add mod">
          <ac:chgData name="Pol Cunyat Llorens" userId="7d9d6803-1d02-4a93-b87d-f75ca3a15424" providerId="ADAL" clId="{DE0C7E4A-E8D8-4CE7-A8B3-2AF426F55426}" dt="2022-11-24T08:02:56.821" v="5329" actId="1076"/>
          <ac:picMkLst>
            <pc:docMk/>
            <pc:sldMk cId="831192321" sldId="281"/>
            <ac:picMk id="8" creationId="{939B82F5-4BFE-4069-99DA-5A3C647D5C6D}"/>
          </ac:picMkLst>
        </pc:picChg>
        <pc:picChg chg="add del mod">
          <ac:chgData name="Pol Cunyat Llorens" userId="7d9d6803-1d02-4a93-b87d-f75ca3a15424" providerId="ADAL" clId="{DE0C7E4A-E8D8-4CE7-A8B3-2AF426F55426}" dt="2022-11-24T08:02:52.096" v="5327" actId="478"/>
          <ac:picMkLst>
            <pc:docMk/>
            <pc:sldMk cId="831192321" sldId="281"/>
            <ac:picMk id="10" creationId="{93F12F71-2636-45C8-B188-BC7C7262BBF4}"/>
          </ac:picMkLst>
        </pc:picChg>
      </pc:sldChg>
      <pc:sldChg chg="addSp modSp add mod ord">
        <pc:chgData name="Pol Cunyat Llorens" userId="7d9d6803-1d02-4a93-b87d-f75ca3a15424" providerId="ADAL" clId="{DE0C7E4A-E8D8-4CE7-A8B3-2AF426F55426}" dt="2022-11-24T07:55:33.625" v="5318" actId="14100"/>
        <pc:sldMkLst>
          <pc:docMk/>
          <pc:sldMk cId="2365682816" sldId="282"/>
        </pc:sldMkLst>
        <pc:spChg chg="mod">
          <ac:chgData name="Pol Cunyat Llorens" userId="7d9d6803-1d02-4a93-b87d-f75ca3a15424" providerId="ADAL" clId="{DE0C7E4A-E8D8-4CE7-A8B3-2AF426F55426}" dt="2022-11-23T19:08:23.598" v="5156"/>
          <ac:spMkLst>
            <pc:docMk/>
            <pc:sldMk cId="2365682816" sldId="282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1:35.109" v="5257"/>
          <ac:spMkLst>
            <pc:docMk/>
            <pc:sldMk cId="2365682816" sldId="282"/>
            <ac:spMk id="5" creationId="{CFD70945-C5A1-42DE-AB29-2B84D5CB0D72}"/>
          </ac:spMkLst>
        </pc:spChg>
        <pc:grpChg chg="mod">
          <ac:chgData name="Pol Cunyat Llorens" userId="7d9d6803-1d02-4a93-b87d-f75ca3a15424" providerId="ADAL" clId="{DE0C7E4A-E8D8-4CE7-A8B3-2AF426F55426}" dt="2022-11-23T19:08:23.598" v="5156"/>
          <ac:grpSpMkLst>
            <pc:docMk/>
            <pc:sldMk cId="2365682816" sldId="282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3T19:08:23.598" v="5156"/>
          <ac:graphicFrameMkLst>
            <pc:docMk/>
            <pc:sldMk cId="2365682816" sldId="282"/>
            <ac:graphicFrameMk id="6" creationId="{3C4E2400-2539-4F37-8674-71CF91E3BB73}"/>
          </ac:graphicFrameMkLst>
        </pc:graphicFrameChg>
        <pc:picChg chg="add mod">
          <ac:chgData name="Pol Cunyat Llorens" userId="7d9d6803-1d02-4a93-b87d-f75ca3a15424" providerId="ADAL" clId="{DE0C7E4A-E8D8-4CE7-A8B3-2AF426F55426}" dt="2022-11-24T07:27:10.659" v="5279" actId="1076"/>
          <ac:picMkLst>
            <pc:docMk/>
            <pc:sldMk cId="2365682816" sldId="282"/>
            <ac:picMk id="3" creationId="{5D3B1DF3-DF10-4F64-9B10-80C5810E7712}"/>
          </ac:picMkLst>
        </pc:picChg>
        <pc:picChg chg="add mod">
          <ac:chgData name="Pol Cunyat Llorens" userId="7d9d6803-1d02-4a93-b87d-f75ca3a15424" providerId="ADAL" clId="{DE0C7E4A-E8D8-4CE7-A8B3-2AF426F55426}" dt="2022-11-24T07:55:33.625" v="5318" actId="14100"/>
          <ac:picMkLst>
            <pc:docMk/>
            <pc:sldMk cId="2365682816" sldId="282"/>
            <ac:picMk id="8" creationId="{E141FFD4-A029-47B5-AE41-327090731451}"/>
          </ac:picMkLst>
        </pc:picChg>
        <pc:picChg chg="add mod">
          <ac:chgData name="Pol Cunyat Llorens" userId="7d9d6803-1d02-4a93-b87d-f75ca3a15424" providerId="ADAL" clId="{DE0C7E4A-E8D8-4CE7-A8B3-2AF426F55426}" dt="2022-11-24T07:27:02.106" v="5276" actId="1076"/>
          <ac:picMkLst>
            <pc:docMk/>
            <pc:sldMk cId="2365682816" sldId="282"/>
            <ac:picMk id="10" creationId="{6BEA8AE1-B313-4B53-9992-8087A71C19FF}"/>
          </ac:picMkLst>
        </pc:picChg>
        <pc:picChg chg="add mod">
          <ac:chgData name="Pol Cunyat Llorens" userId="7d9d6803-1d02-4a93-b87d-f75ca3a15424" providerId="ADAL" clId="{DE0C7E4A-E8D8-4CE7-A8B3-2AF426F55426}" dt="2022-11-24T07:27:04.288" v="5277" actId="1076"/>
          <ac:picMkLst>
            <pc:docMk/>
            <pc:sldMk cId="2365682816" sldId="282"/>
            <ac:picMk id="12" creationId="{05B05051-12B2-4E06-B12A-7058C463DB2E}"/>
          </ac:picMkLst>
        </pc:picChg>
        <pc:picChg chg="add mod">
          <ac:chgData name="Pol Cunyat Llorens" userId="7d9d6803-1d02-4a93-b87d-f75ca3a15424" providerId="ADAL" clId="{DE0C7E4A-E8D8-4CE7-A8B3-2AF426F55426}" dt="2022-11-24T07:27:05.594" v="5278" actId="1076"/>
          <ac:picMkLst>
            <pc:docMk/>
            <pc:sldMk cId="2365682816" sldId="282"/>
            <ac:picMk id="14" creationId="{77981E07-F0D4-4E9E-8B55-24404664FF3F}"/>
          </ac:picMkLst>
        </pc:picChg>
      </pc:sldChg>
      <pc:sldChg chg="addSp delSp modSp add mod">
        <pc:chgData name="Pol Cunyat Llorens" userId="7d9d6803-1d02-4a93-b87d-f75ca3a15424" providerId="ADAL" clId="{DE0C7E4A-E8D8-4CE7-A8B3-2AF426F55426}" dt="2022-11-24T08:08:48.283" v="5444" actId="1076"/>
        <pc:sldMkLst>
          <pc:docMk/>
          <pc:sldMk cId="3679977297" sldId="283"/>
        </pc:sldMkLst>
        <pc:spChg chg="add mod">
          <ac:chgData name="Pol Cunyat Llorens" userId="7d9d6803-1d02-4a93-b87d-f75ca3a15424" providerId="ADAL" clId="{DE0C7E4A-E8D8-4CE7-A8B3-2AF426F55426}" dt="2022-11-24T08:07:31.435" v="5372" actId="14100"/>
          <ac:spMkLst>
            <pc:docMk/>
            <pc:sldMk cId="3679977297" sldId="283"/>
            <ac:spMk id="2" creationId="{E066A4C6-D987-4916-9F25-87F4C08A073D}"/>
          </ac:spMkLst>
        </pc:spChg>
        <pc:spChg chg="mod">
          <ac:chgData name="Pol Cunyat Llorens" userId="7d9d6803-1d02-4a93-b87d-f75ca3a15424" providerId="ADAL" clId="{DE0C7E4A-E8D8-4CE7-A8B3-2AF426F55426}" dt="2022-11-24T07:27:13.401" v="5281"/>
          <ac:spMkLst>
            <pc:docMk/>
            <pc:sldMk cId="3679977297" sldId="283"/>
            <ac:spMk id="4" creationId="{0713D094-5544-4038-A7B6-11AAC3006101}"/>
          </ac:spMkLst>
        </pc:spChg>
        <pc:spChg chg="mod">
          <ac:chgData name="Pol Cunyat Llorens" userId="7d9d6803-1d02-4a93-b87d-f75ca3a15424" providerId="ADAL" clId="{DE0C7E4A-E8D8-4CE7-A8B3-2AF426F55426}" dt="2022-11-24T07:27:13.401" v="5281"/>
          <ac:spMkLst>
            <pc:docMk/>
            <pc:sldMk cId="3679977297" sldId="283"/>
            <ac:spMk id="5" creationId="{CFD70945-C5A1-42DE-AB29-2B84D5CB0D72}"/>
          </ac:spMkLst>
        </pc:spChg>
        <pc:spChg chg="add mod">
          <ac:chgData name="Pol Cunyat Llorens" userId="7d9d6803-1d02-4a93-b87d-f75ca3a15424" providerId="ADAL" clId="{DE0C7E4A-E8D8-4CE7-A8B3-2AF426F55426}" dt="2022-11-24T08:07:30.267" v="5370" actId="1076"/>
          <ac:spMkLst>
            <pc:docMk/>
            <pc:sldMk cId="3679977297" sldId="283"/>
            <ac:spMk id="7" creationId="{5BF48313-9311-4054-B25B-F1CA5C46E43A}"/>
          </ac:spMkLst>
        </pc:spChg>
        <pc:spChg chg="add mod">
          <ac:chgData name="Pol Cunyat Llorens" userId="7d9d6803-1d02-4a93-b87d-f75ca3a15424" providerId="ADAL" clId="{DE0C7E4A-E8D8-4CE7-A8B3-2AF426F55426}" dt="2022-11-24T08:08:32.848" v="5440" actId="2085"/>
          <ac:spMkLst>
            <pc:docMk/>
            <pc:sldMk cId="3679977297" sldId="283"/>
            <ac:spMk id="9" creationId="{C7838CBA-37AB-4D0A-8E4C-B06483B0309B}"/>
          </ac:spMkLst>
        </pc:spChg>
        <pc:spChg chg="add mod">
          <ac:chgData name="Pol Cunyat Llorens" userId="7d9d6803-1d02-4a93-b87d-f75ca3a15424" providerId="ADAL" clId="{DE0C7E4A-E8D8-4CE7-A8B3-2AF426F55426}" dt="2022-11-24T07:48:42.733" v="5292"/>
          <ac:spMkLst>
            <pc:docMk/>
            <pc:sldMk cId="3679977297" sldId="283"/>
            <ac:spMk id="11" creationId="{BC9E5599-C50E-49C5-B299-A9E71A11D31B}"/>
          </ac:spMkLst>
        </pc:spChg>
        <pc:spChg chg="add mod">
          <ac:chgData name="Pol Cunyat Llorens" userId="7d9d6803-1d02-4a93-b87d-f75ca3a15424" providerId="ADAL" clId="{DE0C7E4A-E8D8-4CE7-A8B3-2AF426F55426}" dt="2022-11-24T07:48:41.547" v="5290"/>
          <ac:spMkLst>
            <pc:docMk/>
            <pc:sldMk cId="3679977297" sldId="283"/>
            <ac:spMk id="13" creationId="{9FFE2AF8-2F8D-4D99-8155-F2E1BBABF38D}"/>
          </ac:spMkLst>
        </pc:spChg>
        <pc:spChg chg="add mod">
          <ac:chgData name="Pol Cunyat Llorens" userId="7d9d6803-1d02-4a93-b87d-f75ca3a15424" providerId="ADAL" clId="{DE0C7E4A-E8D8-4CE7-A8B3-2AF426F55426}" dt="2022-11-24T07:49:38.682" v="5299"/>
          <ac:spMkLst>
            <pc:docMk/>
            <pc:sldMk cId="3679977297" sldId="283"/>
            <ac:spMk id="15" creationId="{61BC7A92-2723-464C-8413-67ED8A39E733}"/>
          </ac:spMkLst>
        </pc:spChg>
        <pc:spChg chg="add del mod">
          <ac:chgData name="Pol Cunyat Llorens" userId="7d9d6803-1d02-4a93-b87d-f75ca3a15424" providerId="ADAL" clId="{DE0C7E4A-E8D8-4CE7-A8B3-2AF426F55426}" dt="2022-11-24T07:49:38.402" v="5298"/>
          <ac:spMkLst>
            <pc:docMk/>
            <pc:sldMk cId="3679977297" sldId="283"/>
            <ac:spMk id="16" creationId="{1C699C73-5C9C-40C3-A2F8-02E5B530D8AB}"/>
          </ac:spMkLst>
        </pc:spChg>
        <pc:spChg chg="add del mod">
          <ac:chgData name="Pol Cunyat Llorens" userId="7d9d6803-1d02-4a93-b87d-f75ca3a15424" providerId="ADAL" clId="{DE0C7E4A-E8D8-4CE7-A8B3-2AF426F55426}" dt="2022-11-24T07:49:45.192" v="5301" actId="478"/>
          <ac:spMkLst>
            <pc:docMk/>
            <pc:sldMk cId="3679977297" sldId="283"/>
            <ac:spMk id="17" creationId="{301DC13E-FB7E-44B4-8D9F-568B93FEAF1B}"/>
          </ac:spMkLst>
        </pc:spChg>
        <pc:spChg chg="add del mod">
          <ac:chgData name="Pol Cunyat Llorens" userId="7d9d6803-1d02-4a93-b87d-f75ca3a15424" providerId="ADAL" clId="{DE0C7E4A-E8D8-4CE7-A8B3-2AF426F55426}" dt="2022-11-24T07:50:41.402" v="5307" actId="478"/>
          <ac:spMkLst>
            <pc:docMk/>
            <pc:sldMk cId="3679977297" sldId="283"/>
            <ac:spMk id="18" creationId="{5F67A85F-84CC-4949-88FD-3719DD8778E8}"/>
          </ac:spMkLst>
        </pc:spChg>
        <pc:spChg chg="add del mod">
          <ac:chgData name="Pol Cunyat Llorens" userId="7d9d6803-1d02-4a93-b87d-f75ca3a15424" providerId="ADAL" clId="{DE0C7E4A-E8D8-4CE7-A8B3-2AF426F55426}" dt="2022-11-24T07:50:39.835" v="5306" actId="478"/>
          <ac:spMkLst>
            <pc:docMk/>
            <pc:sldMk cId="3679977297" sldId="283"/>
            <ac:spMk id="19" creationId="{EE61EDAD-79D8-46E7-9130-DB36C507C175}"/>
          </ac:spMkLst>
        </pc:spChg>
        <pc:grpChg chg="mod">
          <ac:chgData name="Pol Cunyat Llorens" userId="7d9d6803-1d02-4a93-b87d-f75ca3a15424" providerId="ADAL" clId="{DE0C7E4A-E8D8-4CE7-A8B3-2AF426F55426}" dt="2022-11-24T07:27:13.401" v="5281"/>
          <ac:grpSpMkLst>
            <pc:docMk/>
            <pc:sldMk cId="3679977297" sldId="283"/>
            <ac:grpSpMk id="1" creationId="{00000000-0000-0000-0000-000000000000}"/>
          </ac:grpSpMkLst>
        </pc:grpChg>
        <pc:graphicFrameChg chg="mod">
          <ac:chgData name="Pol Cunyat Llorens" userId="7d9d6803-1d02-4a93-b87d-f75ca3a15424" providerId="ADAL" clId="{DE0C7E4A-E8D8-4CE7-A8B3-2AF426F55426}" dt="2022-11-24T07:27:13.401" v="5281"/>
          <ac:graphicFrameMkLst>
            <pc:docMk/>
            <pc:sldMk cId="3679977297" sldId="283"/>
            <ac:graphicFrameMk id="6" creationId="{3C4E2400-2539-4F37-8674-71CF91E3BB73}"/>
          </ac:graphicFrameMkLst>
        </pc:graphicFrame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3" creationId="{5D3B1DF3-DF10-4F64-9B10-80C5810E7712}"/>
          </ac:picMkLst>
        </pc:pic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8" creationId="{E141FFD4-A029-47B5-AE41-327090731451}"/>
          </ac:picMkLst>
        </pc:pic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10" creationId="{6BEA8AE1-B313-4B53-9992-8087A71C19FF}"/>
          </ac:picMkLst>
        </pc:pic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12" creationId="{05B05051-12B2-4E06-B12A-7058C463DB2E}"/>
          </ac:picMkLst>
        </pc:picChg>
        <pc:picChg chg="del mod">
          <ac:chgData name="Pol Cunyat Llorens" userId="7d9d6803-1d02-4a93-b87d-f75ca3a15424" providerId="ADAL" clId="{DE0C7E4A-E8D8-4CE7-A8B3-2AF426F55426}" dt="2022-11-24T07:27:20.050" v="5282" actId="478"/>
          <ac:picMkLst>
            <pc:docMk/>
            <pc:sldMk cId="3679977297" sldId="283"/>
            <ac:picMk id="14" creationId="{77981E07-F0D4-4E9E-8B55-24404664FF3F}"/>
          </ac:picMkLst>
        </pc:picChg>
        <pc:picChg chg="add mod">
          <ac:chgData name="Pol Cunyat Llorens" userId="7d9d6803-1d02-4a93-b87d-f75ca3a15424" providerId="ADAL" clId="{DE0C7E4A-E8D8-4CE7-A8B3-2AF426F55426}" dt="2022-11-24T08:07:43.165" v="5374" actId="1076"/>
          <ac:picMkLst>
            <pc:docMk/>
            <pc:sldMk cId="3679977297" sldId="283"/>
            <ac:picMk id="20" creationId="{C306C463-52CE-460F-ABCF-131FD57A3D4A}"/>
          </ac:picMkLst>
        </pc:picChg>
        <pc:picChg chg="add mod">
          <ac:chgData name="Pol Cunyat Llorens" userId="7d9d6803-1d02-4a93-b87d-f75ca3a15424" providerId="ADAL" clId="{DE0C7E4A-E8D8-4CE7-A8B3-2AF426F55426}" dt="2022-11-24T08:08:48.283" v="5444" actId="1076"/>
          <ac:picMkLst>
            <pc:docMk/>
            <pc:sldMk cId="3679977297" sldId="283"/>
            <ac:picMk id="21" creationId="{158B97D8-8F02-4233-BACE-4A9820DF0C7E}"/>
          </ac:picMkLst>
        </pc:picChg>
      </pc:sldChg>
      <pc:sldMasterChg chg="addSp delSp modSp mod delSldLayout modSldLayout">
        <pc:chgData name="Pol Cunyat Llorens" userId="7d9d6803-1d02-4a93-b87d-f75ca3a15424" providerId="ADAL" clId="{DE0C7E4A-E8D8-4CE7-A8B3-2AF426F55426}" dt="2022-11-23T18:55:38.625" v="4634"/>
        <pc:sldMasterMkLst>
          <pc:docMk/>
          <pc:sldMasterMk cId="2331414960" sldId="2147483648"/>
        </pc:sldMasterMkLst>
        <pc:spChg chg="mod">
          <ac:chgData name="Pol Cunyat Llorens" userId="7d9d6803-1d02-4a93-b87d-f75ca3a15424" providerId="ADAL" clId="{DE0C7E4A-E8D8-4CE7-A8B3-2AF426F55426}" dt="2022-11-23T18:55:38.164" v="4133" actId="948"/>
          <ac:spMkLst>
            <pc:docMk/>
            <pc:sldMasterMk cId="2331414960" sldId="2147483648"/>
            <ac:spMk id="2" creationId="{267A1674-9B44-4244-BF76-DB9A096A99F7}"/>
          </ac:spMkLst>
        </pc:spChg>
        <pc:spChg chg="mod">
          <ac:chgData name="Pol Cunyat Llorens" userId="7d9d6803-1d02-4a93-b87d-f75ca3a15424" providerId="ADAL" clId="{DE0C7E4A-E8D8-4CE7-A8B3-2AF426F55426}" dt="2022-11-23T18:55:36.936" v="3968" actId="790"/>
          <ac:spMkLst>
            <pc:docMk/>
            <pc:sldMasterMk cId="2331414960" sldId="2147483648"/>
            <ac:spMk id="3" creationId="{DCC229F9-34D9-4884-9333-5E4E80F79F19}"/>
          </ac:spMkLst>
        </pc:spChg>
        <pc:spChg chg="mod">
          <ac:chgData name="Pol Cunyat Llorens" userId="7d9d6803-1d02-4a93-b87d-f75ca3a15424" providerId="ADAL" clId="{DE0C7E4A-E8D8-4CE7-A8B3-2AF426F55426}" dt="2022-11-23T18:55:36.939" v="3969" actId="790"/>
          <ac:spMkLst>
            <pc:docMk/>
            <pc:sldMasterMk cId="2331414960" sldId="2147483648"/>
            <ac:spMk id="4" creationId="{780D07EE-1F22-4CE4-A498-F75E7008E59D}"/>
          </ac:spMkLst>
        </pc:spChg>
        <pc:spChg chg="mod">
          <ac:chgData name="Pol Cunyat Llorens" userId="7d9d6803-1d02-4a93-b87d-f75ca3a15424" providerId="ADAL" clId="{DE0C7E4A-E8D8-4CE7-A8B3-2AF426F55426}" dt="2022-11-23T18:55:36.943" v="3972" actId="20577"/>
          <ac:spMkLst>
            <pc:docMk/>
            <pc:sldMasterMk cId="2331414960" sldId="2147483648"/>
            <ac:spMk id="5" creationId="{9638F4B9-6FB3-49FC-B85D-C97F16E88FDC}"/>
          </ac:spMkLst>
        </pc:spChg>
        <pc:spChg chg="mod">
          <ac:chgData name="Pol Cunyat Llorens" userId="7d9d6803-1d02-4a93-b87d-f75ca3a15424" providerId="ADAL" clId="{DE0C7E4A-E8D8-4CE7-A8B3-2AF426F55426}" dt="2022-11-23T18:55:36.944" v="3973" actId="790"/>
          <ac:spMkLst>
            <pc:docMk/>
            <pc:sldMasterMk cId="2331414960" sldId="2147483648"/>
            <ac:spMk id="6" creationId="{161674A7-5BAA-4526-87D4-3F91F87EBB0B}"/>
          </ac:spMkLst>
        </pc:spChg>
        <pc:spChg chg="add del mod modVis">
          <ac:chgData name="Pol Cunyat Llorens" userId="7d9d6803-1d02-4a93-b87d-f75ca3a15424" providerId="ADAL" clId="{DE0C7E4A-E8D8-4CE7-A8B3-2AF426F55426}" dt="2022-11-23T14:55:21.384" v="41"/>
          <ac:spMkLst>
            <pc:docMk/>
            <pc:sldMasterMk cId="2331414960" sldId="2147483648"/>
            <ac:spMk id="7" creationId="{7AE1D967-F218-4030-85AF-61CFE7A7F1A1}"/>
          </ac:spMkLst>
        </pc:spChg>
        <pc:spChg chg="add del mod modVis">
          <ac:chgData name="Pol Cunyat Llorens" userId="7d9d6803-1d02-4a93-b87d-f75ca3a15424" providerId="ADAL" clId="{DE0C7E4A-E8D8-4CE7-A8B3-2AF426F55426}" dt="2022-11-23T18:55:38.418" v="4477"/>
          <ac:spMkLst>
            <pc:docMk/>
            <pc:sldMasterMk cId="2331414960" sldId="2147483648"/>
            <ac:spMk id="9" creationId="{E4D274AC-1E51-4DC6-BEB8-0B12B08D67FC}"/>
          </ac:spMkLst>
        </pc:spChg>
        <pc:graphicFrameChg chg="add mod ord modVis">
          <ac:chgData name="Pol Cunyat Llorens" userId="7d9d6803-1d02-4a93-b87d-f75ca3a15424" providerId="ADAL" clId="{DE0C7E4A-E8D8-4CE7-A8B3-2AF426F55426}" dt="2022-11-23T18:55:38.423" v="4479"/>
          <ac:graphicFrameMkLst>
            <pc:docMk/>
            <pc:sldMasterMk cId="2331414960" sldId="2147483648"/>
            <ac:graphicFrameMk id="8" creationId="{D0623DC9-12BA-4B12-A620-9E81C7E0D543}"/>
          </ac:graphicFrameMkLst>
        </pc:graphicFrameChg>
        <pc:sldLayoutChg chg="addSp delSp modSp mod">
          <pc:chgData name="Pol Cunyat Llorens" userId="7d9d6803-1d02-4a93-b87d-f75ca3a15424" providerId="ADAL" clId="{DE0C7E4A-E8D8-4CE7-A8B3-2AF426F55426}" dt="2022-11-23T18:55:38.497" v="4534"/>
          <pc:sldLayoutMkLst>
            <pc:docMk/>
            <pc:sldMasterMk cId="2331414960" sldId="2147483648"/>
            <pc:sldLayoutMk cId="174963918" sldId="2147483649"/>
          </pc:sldLayoutMkLst>
          <pc:spChg chg="del">
            <ac:chgData name="Pol Cunyat Llorens" userId="7d9d6803-1d02-4a93-b87d-f75ca3a15424" providerId="ADAL" clId="{DE0C7E4A-E8D8-4CE7-A8B3-2AF426F55426}" dt="2022-11-23T16:24:09.684" v="254" actId="478"/>
            <ac:spMkLst>
              <pc:docMk/>
              <pc:sldMasterMk cId="2331414960" sldId="2147483648"/>
              <pc:sldLayoutMk cId="174963918" sldId="2147483649"/>
              <ac:spMk id="2" creationId="{E1F33E0F-DE53-4A57-84C1-ABFC5F2EB9D3}"/>
            </ac:spMkLst>
          </pc:spChg>
          <pc:spChg chg="del">
            <ac:chgData name="Pol Cunyat Llorens" userId="7d9d6803-1d02-4a93-b87d-f75ca3a15424" providerId="ADAL" clId="{DE0C7E4A-E8D8-4CE7-A8B3-2AF426F55426}" dt="2022-11-23T16:24:10.851" v="270" actId="478"/>
            <ac:spMkLst>
              <pc:docMk/>
              <pc:sldMasterMk cId="2331414960" sldId="2147483648"/>
              <pc:sldLayoutMk cId="174963918" sldId="2147483649"/>
              <ac:spMk id="3" creationId="{B1373A7F-2E1A-4638-96F2-343FDF5CF7DA}"/>
            </ac:spMkLst>
          </pc:spChg>
          <pc:spChg chg="del">
            <ac:chgData name="Pol Cunyat Llorens" userId="7d9d6803-1d02-4a93-b87d-f75ca3a15424" providerId="ADAL" clId="{DE0C7E4A-E8D8-4CE7-A8B3-2AF426F55426}" dt="2022-11-23T16:24:12.351" v="271" actId="478"/>
            <ac:spMkLst>
              <pc:docMk/>
              <pc:sldMasterMk cId="2331414960" sldId="2147483648"/>
              <pc:sldLayoutMk cId="174963918" sldId="2147483649"/>
              <ac:spMk id="4" creationId="{984182D9-A2DC-4B1E-B49D-C8A1509ADE7B}"/>
            </ac:spMkLst>
          </pc:spChg>
          <pc:spChg chg="del">
            <ac:chgData name="Pol Cunyat Llorens" userId="7d9d6803-1d02-4a93-b87d-f75ca3a15424" providerId="ADAL" clId="{DE0C7E4A-E8D8-4CE7-A8B3-2AF426F55426}" dt="2022-11-23T16:24:13.347" v="272" actId="478"/>
            <ac:spMkLst>
              <pc:docMk/>
              <pc:sldMasterMk cId="2331414960" sldId="2147483648"/>
              <pc:sldLayoutMk cId="174963918" sldId="2147483649"/>
              <ac:spMk id="5" creationId="{5D570F01-B30E-4002-A4D4-75746946902A}"/>
            </ac:spMkLst>
          </pc:spChg>
          <pc:spChg chg="del">
            <ac:chgData name="Pol Cunyat Llorens" userId="7d9d6803-1d02-4a93-b87d-f75ca3a15424" providerId="ADAL" clId="{DE0C7E4A-E8D8-4CE7-A8B3-2AF426F55426}" dt="2022-11-23T16:24:14.932" v="273" actId="478"/>
            <ac:spMkLst>
              <pc:docMk/>
              <pc:sldMasterMk cId="2331414960" sldId="2147483648"/>
              <pc:sldLayoutMk cId="174963918" sldId="2147483649"/>
              <ac:spMk id="6" creationId="{7B2A771F-9ABF-4CD7-8A6B-266C695D31B9}"/>
            </ac:spMkLst>
          </pc:spChg>
          <pc:spChg chg="add del mod">
            <ac:chgData name="Pol Cunyat Llorens" userId="7d9d6803-1d02-4a93-b87d-f75ca3a15424" providerId="ADAL" clId="{DE0C7E4A-E8D8-4CE7-A8B3-2AF426F55426}" dt="2022-11-23T16:44:37.147" v="608" actId="478"/>
            <ac:spMkLst>
              <pc:docMk/>
              <pc:sldMasterMk cId="2331414960" sldId="2147483648"/>
              <pc:sldLayoutMk cId="174963918" sldId="2147483649"/>
              <ac:spMk id="8" creationId="{0A040FC5-91A1-4D72-B171-84BEB971A48B}"/>
            </ac:spMkLst>
          </pc:spChg>
          <pc:spChg chg="add del mod">
            <ac:chgData name="Pol Cunyat Llorens" userId="7d9d6803-1d02-4a93-b87d-f75ca3a15424" providerId="ADAL" clId="{DE0C7E4A-E8D8-4CE7-A8B3-2AF426F55426}" dt="2022-11-23T17:52:24.784" v="1640" actId="478"/>
            <ac:spMkLst>
              <pc:docMk/>
              <pc:sldMasterMk cId="2331414960" sldId="2147483648"/>
              <pc:sldLayoutMk cId="174963918" sldId="2147483649"/>
              <ac:spMk id="9" creationId="{7600AACA-32F8-4559-BCF7-751F8EC44978}"/>
            </ac:spMkLst>
          </pc:spChg>
          <pc:spChg chg="add del mod">
            <ac:chgData name="Pol Cunyat Llorens" userId="7d9d6803-1d02-4a93-b87d-f75ca3a15424" providerId="ADAL" clId="{DE0C7E4A-E8D8-4CE7-A8B3-2AF426F55426}" dt="2022-11-23T17:52:23.195" v="1638" actId="478"/>
            <ac:spMkLst>
              <pc:docMk/>
              <pc:sldMasterMk cId="2331414960" sldId="2147483648"/>
              <pc:sldLayoutMk cId="174963918" sldId="2147483649"/>
              <ac:spMk id="11" creationId="{11CDB2CC-2B66-4FE3-BA22-061BDC1166EF}"/>
            </ac:spMkLst>
          </pc:spChg>
          <pc:spChg chg="add del mod">
            <ac:chgData name="Pol Cunyat Llorens" userId="7d9d6803-1d02-4a93-b87d-f75ca3a15424" providerId="ADAL" clId="{DE0C7E4A-E8D8-4CE7-A8B3-2AF426F55426}" dt="2022-11-23T16:34:31.664" v="492" actId="478"/>
            <ac:spMkLst>
              <pc:docMk/>
              <pc:sldMasterMk cId="2331414960" sldId="2147483648"/>
              <pc:sldLayoutMk cId="174963918" sldId="2147483649"/>
              <ac:spMk id="12" creationId="{E2EB957D-62B2-4E94-A7F9-640B372384AA}"/>
            </ac:spMkLst>
          </pc:spChg>
          <pc:spChg chg="add del mod">
            <ac:chgData name="Pol Cunyat Llorens" userId="7d9d6803-1d02-4a93-b87d-f75ca3a15424" providerId="ADAL" clId="{DE0C7E4A-E8D8-4CE7-A8B3-2AF426F55426}" dt="2022-11-23T16:34:44.274" v="495" actId="478"/>
            <ac:spMkLst>
              <pc:docMk/>
              <pc:sldMasterMk cId="2331414960" sldId="2147483648"/>
              <pc:sldLayoutMk cId="174963918" sldId="2147483649"/>
              <ac:spMk id="13" creationId="{234F213F-54F8-4738-9B87-FBD96F42A634}"/>
            </ac:spMkLst>
          </pc:spChg>
          <pc:spChg chg="add del mod">
            <ac:chgData name="Pol Cunyat Llorens" userId="7d9d6803-1d02-4a93-b87d-f75ca3a15424" providerId="ADAL" clId="{DE0C7E4A-E8D8-4CE7-A8B3-2AF426F55426}" dt="2022-11-23T16:35:15.870" v="499" actId="478"/>
            <ac:spMkLst>
              <pc:docMk/>
              <pc:sldMasterMk cId="2331414960" sldId="2147483648"/>
              <pc:sldLayoutMk cId="174963918" sldId="2147483649"/>
              <ac:spMk id="14" creationId="{1B596B07-1C59-407D-B9F0-76668B548FFA}"/>
            </ac:spMkLst>
          </pc:spChg>
          <pc:spChg chg="add del">
            <ac:chgData name="Pol Cunyat Llorens" userId="7d9d6803-1d02-4a93-b87d-f75ca3a15424" providerId="ADAL" clId="{DE0C7E4A-E8D8-4CE7-A8B3-2AF426F55426}" dt="2022-11-23T16:35:23.501" v="501" actId="478"/>
            <ac:spMkLst>
              <pc:docMk/>
              <pc:sldMasterMk cId="2331414960" sldId="2147483648"/>
              <pc:sldLayoutMk cId="174963918" sldId="2147483649"/>
              <ac:spMk id="15" creationId="{76340A15-ECEF-4C63-B97D-6D55787C1A63}"/>
            </ac:spMkLst>
          </pc:spChg>
          <pc:spChg chg="add del mod">
            <ac:chgData name="Pol Cunyat Llorens" userId="7d9d6803-1d02-4a93-b87d-f75ca3a15424" providerId="ADAL" clId="{DE0C7E4A-E8D8-4CE7-A8B3-2AF426F55426}" dt="2022-11-23T16:36:59.474" v="505" actId="478"/>
            <ac:spMkLst>
              <pc:docMk/>
              <pc:sldMasterMk cId="2331414960" sldId="2147483648"/>
              <pc:sldLayoutMk cId="174963918" sldId="2147483649"/>
              <ac:spMk id="16" creationId="{3C5C3E32-E593-48A9-9262-44F887C5DE5F}"/>
            </ac:spMkLst>
          </pc:spChg>
          <pc:spChg chg="add del mod">
            <ac:chgData name="Pol Cunyat Llorens" userId="7d9d6803-1d02-4a93-b87d-f75ca3a15424" providerId="ADAL" clId="{DE0C7E4A-E8D8-4CE7-A8B3-2AF426F55426}" dt="2022-11-23T16:40:43.781" v="534" actId="478"/>
            <ac:spMkLst>
              <pc:docMk/>
              <pc:sldMasterMk cId="2331414960" sldId="2147483648"/>
              <pc:sldLayoutMk cId="174963918" sldId="2147483649"/>
              <ac:spMk id="19" creationId="{D70EE750-35E7-4237-985B-BBD8623B08C3}"/>
            </ac:spMkLst>
          </pc:spChg>
          <pc:spChg chg="add del">
            <ac:chgData name="Pol Cunyat Llorens" userId="7d9d6803-1d02-4a93-b87d-f75ca3a15424" providerId="ADAL" clId="{DE0C7E4A-E8D8-4CE7-A8B3-2AF426F55426}" dt="2022-11-23T16:40:43.781" v="534" actId="478"/>
            <ac:spMkLst>
              <pc:docMk/>
              <pc:sldMasterMk cId="2331414960" sldId="2147483648"/>
              <pc:sldLayoutMk cId="174963918" sldId="2147483649"/>
              <ac:spMk id="20" creationId="{6774B068-E133-4F09-83CC-F95B9053C80A}"/>
            </ac:spMkLst>
          </pc:spChg>
          <pc:spChg chg="add del">
            <ac:chgData name="Pol Cunyat Llorens" userId="7d9d6803-1d02-4a93-b87d-f75ca3a15424" providerId="ADAL" clId="{DE0C7E4A-E8D8-4CE7-A8B3-2AF426F55426}" dt="2022-11-23T16:43:08.459" v="586" actId="478"/>
            <ac:spMkLst>
              <pc:docMk/>
              <pc:sldMasterMk cId="2331414960" sldId="2147483648"/>
              <pc:sldLayoutMk cId="174963918" sldId="2147483649"/>
              <ac:spMk id="23" creationId="{3B07A781-95EA-4263-92BD-72FF12D5EE51}"/>
            </ac:spMkLst>
          </pc:spChg>
          <pc:spChg chg="add del mod">
            <ac:chgData name="Pol Cunyat Llorens" userId="7d9d6803-1d02-4a93-b87d-f75ca3a15424" providerId="ADAL" clId="{DE0C7E4A-E8D8-4CE7-A8B3-2AF426F55426}" dt="2022-11-23T16:55:28.523" v="1001" actId="478"/>
            <ac:spMkLst>
              <pc:docMk/>
              <pc:sldMasterMk cId="2331414960" sldId="2147483648"/>
              <pc:sldLayoutMk cId="174963918" sldId="2147483649"/>
              <ac:spMk id="26" creationId="{71BDF9C9-0021-4C72-9CA4-D2CB66A521B2}"/>
            </ac:spMkLst>
          </pc:spChg>
          <pc:spChg chg="add mod ord">
            <ac:chgData name="Pol Cunyat Llorens" userId="7d9d6803-1d02-4a93-b87d-f75ca3a15424" providerId="ADAL" clId="{DE0C7E4A-E8D8-4CE7-A8B3-2AF426F55426}" dt="2022-11-23T18:55:36.951" v="3981" actId="20577"/>
            <ac:spMkLst>
              <pc:docMk/>
              <pc:sldMasterMk cId="2331414960" sldId="2147483648"/>
              <pc:sldLayoutMk cId="174963918" sldId="2147483649"/>
              <ac:spMk id="28" creationId="{F2AA7666-76F4-4548-9FC5-6C96EF18CEFD}"/>
            </ac:spMkLst>
          </pc:spChg>
          <pc:spChg chg="add del mod">
            <ac:chgData name="Pol Cunyat Llorens" userId="7d9d6803-1d02-4a93-b87d-f75ca3a15424" providerId="ADAL" clId="{DE0C7E4A-E8D8-4CE7-A8B3-2AF426F55426}" dt="2022-11-23T17:52:10.369" v="1636" actId="478"/>
            <ac:spMkLst>
              <pc:docMk/>
              <pc:sldMasterMk cId="2331414960" sldId="2147483648"/>
              <pc:sldLayoutMk cId="174963918" sldId="2147483649"/>
              <ac:spMk id="29" creationId="{2B4F6D5C-4D23-4D6F-8776-01925AC50AEA}"/>
            </ac:spMkLst>
          </pc:spChg>
          <pc:spChg chg="add del mod">
            <ac:chgData name="Pol Cunyat Llorens" userId="7d9d6803-1d02-4a93-b87d-f75ca3a15424" providerId="ADAL" clId="{DE0C7E4A-E8D8-4CE7-A8B3-2AF426F55426}" dt="2022-11-23T17:52:10.369" v="1636" actId="478"/>
            <ac:spMkLst>
              <pc:docMk/>
              <pc:sldMasterMk cId="2331414960" sldId="2147483648"/>
              <pc:sldLayoutMk cId="174963918" sldId="2147483649"/>
              <ac:spMk id="30" creationId="{19C18A19-8330-4F96-BAA5-01F3422D5881}"/>
            </ac:spMkLst>
          </pc:spChg>
          <pc:spChg chg="add del mod">
            <ac:chgData name="Pol Cunyat Llorens" userId="7d9d6803-1d02-4a93-b87d-f75ca3a15424" providerId="ADAL" clId="{DE0C7E4A-E8D8-4CE7-A8B3-2AF426F55426}" dt="2022-11-23T18:06:44.273" v="1704" actId="478"/>
            <ac:spMkLst>
              <pc:docMk/>
              <pc:sldMasterMk cId="2331414960" sldId="2147483648"/>
              <pc:sldLayoutMk cId="174963918" sldId="2147483649"/>
              <ac:spMk id="31" creationId="{A147F401-F48A-46DE-A207-BB1A2D6C33A8}"/>
            </ac:spMkLst>
          </pc:spChg>
          <pc:spChg chg="add del mod">
            <ac:chgData name="Pol Cunyat Llorens" userId="7d9d6803-1d02-4a93-b87d-f75ca3a15424" providerId="ADAL" clId="{DE0C7E4A-E8D8-4CE7-A8B3-2AF426F55426}" dt="2022-11-23T18:06:44.273" v="1704" actId="478"/>
            <ac:spMkLst>
              <pc:docMk/>
              <pc:sldMasterMk cId="2331414960" sldId="2147483648"/>
              <pc:sldLayoutMk cId="174963918" sldId="2147483649"/>
              <ac:spMk id="32" creationId="{F878CA5A-EEFC-4CDE-A1D7-41B429881250}"/>
            </ac:spMkLst>
          </pc:spChg>
          <pc:spChg chg="add mod ord">
            <ac:chgData name="Pol Cunyat Llorens" userId="7d9d6803-1d02-4a93-b87d-f75ca3a15424" providerId="ADAL" clId="{DE0C7E4A-E8D8-4CE7-A8B3-2AF426F55426}" dt="2022-11-23T18:55:36.954" v="3983" actId="947"/>
            <ac:spMkLst>
              <pc:docMk/>
              <pc:sldMasterMk cId="2331414960" sldId="2147483648"/>
              <pc:sldLayoutMk cId="174963918" sldId="2147483649"/>
              <ac:spMk id="33" creationId="{B2130A69-55D3-46BA-9648-E6E22D8C2F3A}"/>
            </ac:spMkLst>
          </pc:spChg>
          <pc:spChg chg="add mod ord">
            <ac:chgData name="Pol Cunyat Llorens" userId="7d9d6803-1d02-4a93-b87d-f75ca3a15424" providerId="ADAL" clId="{DE0C7E4A-E8D8-4CE7-A8B3-2AF426F55426}" dt="2022-11-23T18:55:36.948" v="3977" actId="20577"/>
            <ac:spMkLst>
              <pc:docMk/>
              <pc:sldMasterMk cId="2331414960" sldId="2147483648"/>
              <pc:sldLayoutMk cId="174963918" sldId="2147483649"/>
              <ac:spMk id="34" creationId="{86F9B23A-B85E-4B91-98D9-94A014C514B4}"/>
            </ac:spMkLst>
          </pc:spChg>
          <pc:spChg chg="add mod ord">
            <ac:chgData name="Pol Cunyat Llorens" userId="7d9d6803-1d02-4a93-b87d-f75ca3a15424" providerId="ADAL" clId="{DE0C7E4A-E8D8-4CE7-A8B3-2AF426F55426}" dt="2022-11-23T18:55:36.960" v="3991" actId="20577"/>
            <ac:spMkLst>
              <pc:docMk/>
              <pc:sldMasterMk cId="2331414960" sldId="2147483648"/>
              <pc:sldLayoutMk cId="174963918" sldId="2147483649"/>
              <ac:spMk id="35" creationId="{EB1AA053-FA96-4F47-B61F-3FBB95044CBF}"/>
            </ac:spMkLst>
          </pc:spChg>
          <pc:spChg chg="add del mod">
            <ac:chgData name="Pol Cunyat Llorens" userId="7d9d6803-1d02-4a93-b87d-f75ca3a15424" providerId="ADAL" clId="{DE0C7E4A-E8D8-4CE7-A8B3-2AF426F55426}" dt="2022-11-23T18:12:09.944" v="1927" actId="478"/>
            <ac:spMkLst>
              <pc:docMk/>
              <pc:sldMasterMk cId="2331414960" sldId="2147483648"/>
              <pc:sldLayoutMk cId="174963918" sldId="2147483649"/>
              <ac:spMk id="37" creationId="{3615F802-3537-4EE1-86CD-1B5032A83E63}"/>
            </ac:spMkLst>
          </pc:spChg>
          <pc:spChg chg="add del mod">
            <ac:chgData name="Pol Cunyat Llorens" userId="7d9d6803-1d02-4a93-b87d-f75ca3a15424" providerId="ADAL" clId="{DE0C7E4A-E8D8-4CE7-A8B3-2AF426F55426}" dt="2022-11-23T18:12:30.568" v="1933" actId="478"/>
            <ac:spMkLst>
              <pc:docMk/>
              <pc:sldMasterMk cId="2331414960" sldId="2147483648"/>
              <pc:sldLayoutMk cId="174963918" sldId="2147483649"/>
              <ac:spMk id="38" creationId="{ECE8BD32-C06B-4890-A55E-771DF5108B1D}"/>
            </ac:spMkLst>
          </pc:spChg>
          <pc:spChg chg="add del mod">
            <ac:chgData name="Pol Cunyat Llorens" userId="7d9d6803-1d02-4a93-b87d-f75ca3a15424" providerId="ADAL" clId="{DE0C7E4A-E8D8-4CE7-A8B3-2AF426F55426}" dt="2022-11-23T18:12:51.112" v="1939" actId="478"/>
            <ac:spMkLst>
              <pc:docMk/>
              <pc:sldMasterMk cId="2331414960" sldId="2147483648"/>
              <pc:sldLayoutMk cId="174963918" sldId="2147483649"/>
              <ac:spMk id="39" creationId="{69030FFA-9F7D-4E62-8DA2-2774B38D4BAB}"/>
            </ac:spMkLst>
          </pc:spChg>
          <pc:spChg chg="add del mod">
            <ac:chgData name="Pol Cunyat Llorens" userId="7d9d6803-1d02-4a93-b87d-f75ca3a15424" providerId="ADAL" clId="{DE0C7E4A-E8D8-4CE7-A8B3-2AF426F55426}" dt="2022-11-23T18:14:10.308" v="1969" actId="478"/>
            <ac:spMkLst>
              <pc:docMk/>
              <pc:sldMasterMk cId="2331414960" sldId="2147483648"/>
              <pc:sldLayoutMk cId="174963918" sldId="2147483649"/>
              <ac:spMk id="40" creationId="{9179D28E-2077-4E8F-B433-8792BBD284F9}"/>
            </ac:spMkLst>
          </pc:spChg>
          <pc:spChg chg="add mod ord">
            <ac:chgData name="Pol Cunyat Llorens" userId="7d9d6803-1d02-4a93-b87d-f75ca3a15424" providerId="ADAL" clId="{DE0C7E4A-E8D8-4CE7-A8B3-2AF426F55426}" dt="2022-11-23T18:55:36.956" v="3987" actId="20577"/>
            <ac:spMkLst>
              <pc:docMk/>
              <pc:sldMasterMk cId="2331414960" sldId="2147483648"/>
              <pc:sldLayoutMk cId="174963918" sldId="2147483649"/>
              <ac:spMk id="41" creationId="{11D41356-1E2E-4F1A-AEB1-D3748558B0FC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97" v="4534"/>
            <ac:graphicFrameMkLst>
              <pc:docMk/>
              <pc:sldMasterMk cId="2331414960" sldId="2147483648"/>
              <pc:sldLayoutMk cId="174963918" sldId="2147483649"/>
              <ac:graphicFrameMk id="7" creationId="{BF734D9C-5361-4AB6-825F-FF0FEC6F896F}"/>
            </ac:graphicFrameMkLst>
          </pc:graphicFrameChg>
          <pc:picChg chg="add del mod">
            <ac:chgData name="Pol Cunyat Llorens" userId="7d9d6803-1d02-4a93-b87d-f75ca3a15424" providerId="ADAL" clId="{DE0C7E4A-E8D8-4CE7-A8B3-2AF426F55426}" dt="2022-11-23T16:40:55.136" v="541" actId="478"/>
            <ac:picMkLst>
              <pc:docMk/>
              <pc:sldMasterMk cId="2331414960" sldId="2147483648"/>
              <pc:sldLayoutMk cId="174963918" sldId="2147483649"/>
              <ac:picMk id="10" creationId="{1878050C-0344-4BB1-9C46-EC0D6C9CD09A}"/>
            </ac:picMkLst>
          </pc:picChg>
          <pc:picChg chg="add del mod modCrop">
            <ac:chgData name="Pol Cunyat Llorens" userId="7d9d6803-1d02-4a93-b87d-f75ca3a15424" providerId="ADAL" clId="{DE0C7E4A-E8D8-4CE7-A8B3-2AF426F55426}" dt="2022-11-23T16:43:27.758" v="592" actId="478"/>
            <ac:picMkLst>
              <pc:docMk/>
              <pc:sldMasterMk cId="2331414960" sldId="2147483648"/>
              <pc:sldLayoutMk cId="174963918" sldId="2147483649"/>
              <ac:picMk id="18" creationId="{D6B5C4D4-9733-4B3D-A0ED-FA121F68DFAF}"/>
            </ac:picMkLst>
          </pc:picChg>
          <pc:picChg chg="add mod ord">
            <ac:chgData name="Pol Cunyat Llorens" userId="7d9d6803-1d02-4a93-b87d-f75ca3a15424" providerId="ADAL" clId="{DE0C7E4A-E8D8-4CE7-A8B3-2AF426F55426}" dt="2022-11-23T18:14:25.089" v="1977"/>
            <ac:picMkLst>
              <pc:docMk/>
              <pc:sldMasterMk cId="2331414960" sldId="2147483648"/>
              <pc:sldLayoutMk cId="174963918" sldId="2147483649"/>
              <ac:picMk id="21" creationId="{9BB8F504-4FE3-4E1B-94F8-CE45B43FA6FC}"/>
            </ac:picMkLst>
          </pc:picChg>
          <pc:picChg chg="add del mod modCrop">
            <ac:chgData name="Pol Cunyat Llorens" userId="7d9d6803-1d02-4a93-b87d-f75ca3a15424" providerId="ADAL" clId="{DE0C7E4A-E8D8-4CE7-A8B3-2AF426F55426}" dt="2022-11-23T16:55:14.767" v="1000" actId="478"/>
            <ac:picMkLst>
              <pc:docMk/>
              <pc:sldMasterMk cId="2331414960" sldId="2147483648"/>
              <pc:sldLayoutMk cId="174963918" sldId="2147483649"/>
              <ac:picMk id="25" creationId="{0583EFC1-F88F-47D0-B504-378CDEEDC158}"/>
            </ac:picMkLst>
          </pc:picChg>
          <pc:picChg chg="add del mod ord">
            <ac:chgData name="Pol Cunyat Llorens" userId="7d9d6803-1d02-4a93-b87d-f75ca3a15424" providerId="ADAL" clId="{DE0C7E4A-E8D8-4CE7-A8B3-2AF426F55426}" dt="2022-11-23T18:07:10.195" v="1720" actId="478"/>
            <ac:picMkLst>
              <pc:docMk/>
              <pc:sldMasterMk cId="2331414960" sldId="2147483648"/>
              <pc:sldLayoutMk cId="174963918" sldId="2147483649"/>
              <ac:picMk id="27" creationId="{676DD8AB-DFC6-4DC6-98D8-F5508E0CBE45}"/>
            </ac:picMkLst>
          </pc:picChg>
          <pc:picChg chg="add mod ord modCrop">
            <ac:chgData name="Pol Cunyat Llorens" userId="7d9d6803-1d02-4a93-b87d-f75ca3a15424" providerId="ADAL" clId="{DE0C7E4A-E8D8-4CE7-A8B3-2AF426F55426}" dt="2022-11-23T18:14:44.969" v="1993" actId="14100"/>
            <ac:picMkLst>
              <pc:docMk/>
              <pc:sldMasterMk cId="2331414960" sldId="2147483648"/>
              <pc:sldLayoutMk cId="174963918" sldId="2147483649"/>
              <ac:picMk id="36" creationId="{4396EDC1-F172-4CE4-BE0F-6CE6A99E348F}"/>
            </ac:picMkLst>
          </pc:picChg>
        </pc:sldLayoutChg>
        <pc:sldLayoutChg chg="addSp delSp modSp mod">
          <pc:chgData name="Pol Cunyat Llorens" userId="7d9d6803-1d02-4a93-b87d-f75ca3a15424" providerId="ADAL" clId="{DE0C7E4A-E8D8-4CE7-A8B3-2AF426F55426}" dt="2022-11-23T18:55:38.471" v="4515"/>
          <pc:sldLayoutMkLst>
            <pc:docMk/>
            <pc:sldMasterMk cId="2331414960" sldId="2147483648"/>
            <pc:sldLayoutMk cId="1181404295" sldId="2147483650"/>
          </pc:sldLayoutMkLst>
          <pc:spChg chg="del mod">
            <ac:chgData name="Pol Cunyat Llorens" userId="7d9d6803-1d02-4a93-b87d-f75ca3a15424" providerId="ADAL" clId="{DE0C7E4A-E8D8-4CE7-A8B3-2AF426F55426}" dt="2022-11-23T16:24:23.863" v="275" actId="478"/>
            <ac:spMkLst>
              <pc:docMk/>
              <pc:sldMasterMk cId="2331414960" sldId="2147483648"/>
              <pc:sldLayoutMk cId="1181404295" sldId="2147483650"/>
              <ac:spMk id="2" creationId="{D80088D4-CC94-4969-8F81-99EB47C0C7BA}"/>
            </ac:spMkLst>
          </pc:spChg>
          <pc:spChg chg="del">
            <ac:chgData name="Pol Cunyat Llorens" userId="7d9d6803-1d02-4a93-b87d-f75ca3a15424" providerId="ADAL" clId="{DE0C7E4A-E8D8-4CE7-A8B3-2AF426F55426}" dt="2022-11-23T16:24:23.863" v="275" actId="478"/>
            <ac:spMkLst>
              <pc:docMk/>
              <pc:sldMasterMk cId="2331414960" sldId="2147483648"/>
              <pc:sldLayoutMk cId="1181404295" sldId="2147483650"/>
              <ac:spMk id="3" creationId="{B29E7BF0-975E-415F-8901-69033C8A88F3}"/>
            </ac:spMkLst>
          </pc:spChg>
          <pc:spChg chg="del">
            <ac:chgData name="Pol Cunyat Llorens" userId="7d9d6803-1d02-4a93-b87d-f75ca3a15424" providerId="ADAL" clId="{DE0C7E4A-E8D8-4CE7-A8B3-2AF426F55426}" dt="2022-11-23T16:23:38.985" v="187" actId="478"/>
            <ac:spMkLst>
              <pc:docMk/>
              <pc:sldMasterMk cId="2331414960" sldId="2147483648"/>
              <pc:sldLayoutMk cId="1181404295" sldId="2147483650"/>
              <ac:spMk id="4" creationId="{0CD7410A-DF06-4F34-AEE5-A963B356CE43}"/>
            </ac:spMkLst>
          </pc:spChg>
          <pc:spChg chg="mod">
            <ac:chgData name="Pol Cunyat Llorens" userId="7d9d6803-1d02-4a93-b87d-f75ca3a15424" providerId="ADAL" clId="{DE0C7E4A-E8D8-4CE7-A8B3-2AF426F55426}" dt="2022-11-23T18:55:36.962" v="3992" actId="790"/>
            <ac:spMkLst>
              <pc:docMk/>
              <pc:sldMasterMk cId="2331414960" sldId="2147483648"/>
              <pc:sldLayoutMk cId="1181404295" sldId="2147483650"/>
              <ac:spMk id="5" creationId="{2AA6CD1F-BBCD-46EE-B42E-2C01C2917A2D}"/>
            </ac:spMkLst>
          </pc:spChg>
          <pc:spChg chg="mod">
            <ac:chgData name="Pol Cunyat Llorens" userId="7d9d6803-1d02-4a93-b87d-f75ca3a15424" providerId="ADAL" clId="{DE0C7E4A-E8D8-4CE7-A8B3-2AF426F55426}" dt="2022-11-23T18:55:36.964" v="3993" actId="790"/>
            <ac:spMkLst>
              <pc:docMk/>
              <pc:sldMasterMk cId="2331414960" sldId="2147483648"/>
              <pc:sldLayoutMk cId="1181404295" sldId="2147483650"/>
              <ac:spMk id="6" creationId="{B5A47AB9-5220-401E-9B21-ACCDE5B2BE91}"/>
            </ac:spMkLst>
          </pc:spChg>
          <pc:spChg chg="add del mod modVis">
            <ac:chgData name="Pol Cunyat Llorens" userId="7d9d6803-1d02-4a93-b87d-f75ca3a15424" providerId="ADAL" clId="{DE0C7E4A-E8D8-4CE7-A8B3-2AF426F55426}" dt="2022-11-23T16:23:58.214" v="238"/>
            <ac:spMkLst>
              <pc:docMk/>
              <pc:sldMasterMk cId="2331414960" sldId="2147483648"/>
              <pc:sldLayoutMk cId="1181404295" sldId="2147483650"/>
              <ac:spMk id="7" creationId="{A2AD1AA0-9178-4693-9315-3E1420F12CAB}"/>
            </ac:spMkLst>
          </pc:spChg>
          <pc:spChg chg="add del mod">
            <ac:chgData name="Pol Cunyat Llorens" userId="7d9d6803-1d02-4a93-b87d-f75ca3a15424" providerId="ADAL" clId="{DE0C7E4A-E8D8-4CE7-A8B3-2AF426F55426}" dt="2022-11-23T16:45:40.380" v="612" actId="478"/>
            <ac:spMkLst>
              <pc:docMk/>
              <pc:sldMasterMk cId="2331414960" sldId="2147483648"/>
              <pc:sldLayoutMk cId="1181404295" sldId="2147483650"/>
              <ac:spMk id="9" creationId="{A0AA572F-5FD1-46AD-B1CD-8CE0134D363D}"/>
            </ac:spMkLst>
          </pc:spChg>
          <pc:spChg chg="add del mod">
            <ac:chgData name="Pol Cunyat Llorens" userId="7d9d6803-1d02-4a93-b87d-f75ca3a15424" providerId="ADAL" clId="{DE0C7E4A-E8D8-4CE7-A8B3-2AF426F55426}" dt="2022-11-23T16:45:40.380" v="612" actId="478"/>
            <ac:spMkLst>
              <pc:docMk/>
              <pc:sldMasterMk cId="2331414960" sldId="2147483648"/>
              <pc:sldLayoutMk cId="1181404295" sldId="2147483650"/>
              <ac:spMk id="10" creationId="{866A196C-717D-4910-98A4-7EE90A88E541}"/>
            </ac:spMkLst>
          </pc:spChg>
          <pc:spChg chg="add del">
            <ac:chgData name="Pol Cunyat Llorens" userId="7d9d6803-1d02-4a93-b87d-f75ca3a15424" providerId="ADAL" clId="{DE0C7E4A-E8D8-4CE7-A8B3-2AF426F55426}" dt="2022-11-23T16:26:40.885" v="307"/>
            <ac:spMkLst>
              <pc:docMk/>
              <pc:sldMasterMk cId="2331414960" sldId="2147483648"/>
              <pc:sldLayoutMk cId="1181404295" sldId="2147483650"/>
              <ac:spMk id="11" creationId="{D353FEC3-8AFA-40B0-A72D-37A62466B223}"/>
            </ac:spMkLst>
          </pc:spChg>
          <pc:spChg chg="add del mod">
            <ac:chgData name="Pol Cunyat Llorens" userId="7d9d6803-1d02-4a93-b87d-f75ca3a15424" providerId="ADAL" clId="{DE0C7E4A-E8D8-4CE7-A8B3-2AF426F55426}" dt="2022-11-23T16:26:55.715" v="311" actId="478"/>
            <ac:spMkLst>
              <pc:docMk/>
              <pc:sldMasterMk cId="2331414960" sldId="2147483648"/>
              <pc:sldLayoutMk cId="1181404295" sldId="2147483650"/>
              <ac:spMk id="12" creationId="{62A26740-AD62-4161-B25A-FE352EF717C3}"/>
            </ac:spMkLst>
          </pc:spChg>
          <pc:spChg chg="add del mod">
            <ac:chgData name="Pol Cunyat Llorens" userId="7d9d6803-1d02-4a93-b87d-f75ca3a15424" providerId="ADAL" clId="{DE0C7E4A-E8D8-4CE7-A8B3-2AF426F55426}" dt="2022-11-23T16:27:11.343" v="314" actId="478"/>
            <ac:spMkLst>
              <pc:docMk/>
              <pc:sldMasterMk cId="2331414960" sldId="2147483648"/>
              <pc:sldLayoutMk cId="1181404295" sldId="2147483650"/>
              <ac:spMk id="13" creationId="{54C62EFF-B684-4E0B-B464-5AAFE47E770E}"/>
            </ac:spMkLst>
          </pc:spChg>
          <pc:spChg chg="add del">
            <ac:chgData name="Pol Cunyat Llorens" userId="7d9d6803-1d02-4a93-b87d-f75ca3a15424" providerId="ADAL" clId="{DE0C7E4A-E8D8-4CE7-A8B3-2AF426F55426}" dt="2022-11-23T16:27:38.945" v="317" actId="478"/>
            <ac:spMkLst>
              <pc:docMk/>
              <pc:sldMasterMk cId="2331414960" sldId="2147483648"/>
              <pc:sldLayoutMk cId="1181404295" sldId="2147483650"/>
              <ac:spMk id="14" creationId="{C2311627-BBF2-4356-B855-92F1E329C446}"/>
            </ac:spMkLst>
          </pc:spChg>
          <pc:spChg chg="add del">
            <ac:chgData name="Pol Cunyat Llorens" userId="7d9d6803-1d02-4a93-b87d-f75ca3a15424" providerId="ADAL" clId="{DE0C7E4A-E8D8-4CE7-A8B3-2AF426F55426}" dt="2022-11-23T16:28:06.375" v="319" actId="478"/>
            <ac:spMkLst>
              <pc:docMk/>
              <pc:sldMasterMk cId="2331414960" sldId="2147483648"/>
              <pc:sldLayoutMk cId="1181404295" sldId="2147483650"/>
              <ac:spMk id="15" creationId="{743265A5-33A4-42AA-B9B5-CEC1CACFB949}"/>
            </ac:spMkLst>
          </pc:spChg>
          <pc:spChg chg="add mod">
            <ac:chgData name="Pol Cunyat Llorens" userId="7d9d6803-1d02-4a93-b87d-f75ca3a15424" providerId="ADAL" clId="{DE0C7E4A-E8D8-4CE7-A8B3-2AF426F55426}" dt="2022-11-23T18:55:36.967" v="3997" actId="20577"/>
            <ac:spMkLst>
              <pc:docMk/>
              <pc:sldMasterMk cId="2331414960" sldId="2147483648"/>
              <pc:sldLayoutMk cId="1181404295" sldId="2147483650"/>
              <ac:spMk id="16" creationId="{44E30A0C-B11B-48AE-8DE9-27259E0B6553}"/>
            </ac:spMkLst>
          </pc:spChg>
          <pc:spChg chg="add del mod">
            <ac:chgData name="Pol Cunyat Llorens" userId="7d9d6803-1d02-4a93-b87d-f75ca3a15424" providerId="ADAL" clId="{DE0C7E4A-E8D8-4CE7-A8B3-2AF426F55426}" dt="2022-11-23T17:52:38.849" v="1645" actId="478"/>
            <ac:spMkLst>
              <pc:docMk/>
              <pc:sldMasterMk cId="2331414960" sldId="2147483648"/>
              <pc:sldLayoutMk cId="1181404295" sldId="2147483650"/>
              <ac:spMk id="20" creationId="{B02513F0-68F1-4927-8D3D-96B0895AEA4E}"/>
            </ac:spMkLst>
          </pc:spChg>
          <pc:spChg chg="add del mod">
            <ac:chgData name="Pol Cunyat Llorens" userId="7d9d6803-1d02-4a93-b87d-f75ca3a15424" providerId="ADAL" clId="{DE0C7E4A-E8D8-4CE7-A8B3-2AF426F55426}" dt="2022-11-23T17:52:36.667" v="1643" actId="478"/>
            <ac:spMkLst>
              <pc:docMk/>
              <pc:sldMasterMk cId="2331414960" sldId="2147483648"/>
              <pc:sldLayoutMk cId="1181404295" sldId="2147483650"/>
              <ac:spMk id="21" creationId="{2F127E2F-C306-4204-9EC4-5B21AD3C24D4}"/>
            </ac:spMkLst>
          </pc:spChg>
          <pc:spChg chg="add del mod">
            <ac:chgData name="Pol Cunyat Llorens" userId="7d9d6803-1d02-4a93-b87d-f75ca3a15424" providerId="ADAL" clId="{DE0C7E4A-E8D8-4CE7-A8B3-2AF426F55426}" dt="2022-11-23T17:52:40.469" v="1646" actId="478"/>
            <ac:spMkLst>
              <pc:docMk/>
              <pc:sldMasterMk cId="2331414960" sldId="2147483648"/>
              <pc:sldLayoutMk cId="1181404295" sldId="2147483650"/>
              <ac:spMk id="22" creationId="{C65E2819-C8A4-41F2-8761-0D1F1E64AE2E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71" v="4515"/>
            <ac:graphicFrameMkLst>
              <pc:docMk/>
              <pc:sldMasterMk cId="2331414960" sldId="2147483648"/>
              <pc:sldLayoutMk cId="1181404295" sldId="2147483650"/>
              <ac:graphicFrameMk id="8" creationId="{8627C7CC-339F-471D-9500-D1BC8CAA644A}"/>
            </ac:graphicFrameMkLst>
          </pc:graphicFrameChg>
          <pc:picChg chg="add mod">
            <ac:chgData name="Pol Cunyat Llorens" userId="7d9d6803-1d02-4a93-b87d-f75ca3a15424" providerId="ADAL" clId="{DE0C7E4A-E8D8-4CE7-A8B3-2AF426F55426}" dt="2022-11-23T16:41:25.276" v="567"/>
            <ac:picMkLst>
              <pc:docMk/>
              <pc:sldMasterMk cId="2331414960" sldId="2147483648"/>
              <pc:sldLayoutMk cId="1181404295" sldId="2147483650"/>
              <ac:picMk id="18" creationId="{2A7CE628-FA78-4B3A-965B-518C87428450}"/>
            </ac:picMkLst>
          </pc:picChg>
          <pc:picChg chg="add del">
            <ac:chgData name="Pol Cunyat Llorens" userId="7d9d6803-1d02-4a93-b87d-f75ca3a15424" providerId="ADAL" clId="{DE0C7E4A-E8D8-4CE7-A8B3-2AF426F55426}" dt="2022-11-23T16:27:38.945" v="317" actId="478"/>
            <ac:picMkLst>
              <pc:docMk/>
              <pc:sldMasterMk cId="2331414960" sldId="2147483648"/>
              <pc:sldLayoutMk cId="1181404295" sldId="2147483650"/>
              <ac:picMk id="7176" creationId="{D00FD3EC-46AB-4558-B1EC-BE889478DA6E}"/>
            </ac:picMkLst>
          </pc:picChg>
          <pc:picChg chg="add del mod">
            <ac:chgData name="Pol Cunyat Llorens" userId="7d9d6803-1d02-4a93-b87d-f75ca3a15424" providerId="ADAL" clId="{DE0C7E4A-E8D8-4CE7-A8B3-2AF426F55426}" dt="2022-11-23T16:41:27.017" v="568" actId="478"/>
            <ac:picMkLst>
              <pc:docMk/>
              <pc:sldMasterMk cId="2331414960" sldId="2147483648"/>
              <pc:sldLayoutMk cId="1181404295" sldId="2147483650"/>
              <ac:picMk id="7182" creationId="{1A1B5459-C915-4163-A5FC-B3836CE5D0FD}"/>
            </ac:picMkLst>
          </pc:picChg>
        </pc:sldLayoutChg>
        <pc:sldLayoutChg chg="addSp delSp modSp mod">
          <pc:chgData name="Pol Cunyat Llorens" userId="7d9d6803-1d02-4a93-b87d-f75ca3a15424" providerId="ADAL" clId="{DE0C7E4A-E8D8-4CE7-A8B3-2AF426F55426}" dt="2022-11-23T18:55:38.468" v="4513"/>
          <pc:sldLayoutMkLst>
            <pc:docMk/>
            <pc:sldMasterMk cId="2331414960" sldId="2147483648"/>
            <pc:sldLayoutMk cId="1528095049" sldId="2147483651"/>
          </pc:sldLayoutMkLst>
          <pc:spChg chg="mod">
            <ac:chgData name="Pol Cunyat Llorens" userId="7d9d6803-1d02-4a93-b87d-f75ca3a15424" providerId="ADAL" clId="{DE0C7E4A-E8D8-4CE7-A8B3-2AF426F55426}" dt="2022-11-23T18:55:38.223" v="4209" actId="948"/>
            <ac:spMkLst>
              <pc:docMk/>
              <pc:sldMasterMk cId="2331414960" sldId="2147483648"/>
              <pc:sldLayoutMk cId="1528095049" sldId="2147483651"/>
              <ac:spMk id="2" creationId="{F42009F7-7887-4A3F-8498-3FEFF47E0969}"/>
            </ac:spMkLst>
          </pc:spChg>
          <pc:spChg chg="mod">
            <ac:chgData name="Pol Cunyat Llorens" userId="7d9d6803-1d02-4a93-b87d-f75ca3a15424" providerId="ADAL" clId="{DE0C7E4A-E8D8-4CE7-A8B3-2AF426F55426}" dt="2022-11-23T18:55:36.972" v="3999" actId="790"/>
            <ac:spMkLst>
              <pc:docMk/>
              <pc:sldMasterMk cId="2331414960" sldId="2147483648"/>
              <pc:sldLayoutMk cId="1528095049" sldId="2147483651"/>
              <ac:spMk id="3" creationId="{F22B1DB5-305A-4CEC-BCD2-F7451FEB695C}"/>
            </ac:spMkLst>
          </pc:spChg>
          <pc:spChg chg="mod">
            <ac:chgData name="Pol Cunyat Llorens" userId="7d9d6803-1d02-4a93-b87d-f75ca3a15424" providerId="ADAL" clId="{DE0C7E4A-E8D8-4CE7-A8B3-2AF426F55426}" dt="2022-11-23T18:55:36.973" v="4000" actId="790"/>
            <ac:spMkLst>
              <pc:docMk/>
              <pc:sldMasterMk cId="2331414960" sldId="2147483648"/>
              <pc:sldLayoutMk cId="1528095049" sldId="2147483651"/>
              <ac:spMk id="4" creationId="{7579D9E7-3A5C-498D-8AAB-58A1E7207C22}"/>
            </ac:spMkLst>
          </pc:spChg>
          <pc:spChg chg="mod">
            <ac:chgData name="Pol Cunyat Llorens" userId="7d9d6803-1d02-4a93-b87d-f75ca3a15424" providerId="ADAL" clId="{DE0C7E4A-E8D8-4CE7-A8B3-2AF426F55426}" dt="2022-11-23T18:55:36.977" v="4003" actId="20577"/>
            <ac:spMkLst>
              <pc:docMk/>
              <pc:sldMasterMk cId="2331414960" sldId="2147483648"/>
              <pc:sldLayoutMk cId="1528095049" sldId="2147483651"/>
              <ac:spMk id="5" creationId="{CF770197-9A60-4ABE-94C4-E1A33CC367A9}"/>
            </ac:spMkLst>
          </pc:spChg>
          <pc:spChg chg="mod">
            <ac:chgData name="Pol Cunyat Llorens" userId="7d9d6803-1d02-4a93-b87d-f75ca3a15424" providerId="ADAL" clId="{DE0C7E4A-E8D8-4CE7-A8B3-2AF426F55426}" dt="2022-11-23T18:55:36.978" v="4004" actId="790"/>
            <ac:spMkLst>
              <pc:docMk/>
              <pc:sldMasterMk cId="2331414960" sldId="2147483648"/>
              <pc:sldLayoutMk cId="1528095049" sldId="2147483651"/>
              <ac:spMk id="6" creationId="{8F17220C-74BD-4A9F-8450-C06AC6EF7E0D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450" v="4498"/>
            <ac:spMkLst>
              <pc:docMk/>
              <pc:sldMasterMk cId="2331414960" sldId="2147483648"/>
              <pc:sldLayoutMk cId="1528095049" sldId="2147483651"/>
              <ac:spMk id="7" creationId="{B3CA9937-20D7-47E0-A36C-0E0664BDF668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68" v="4513"/>
            <ac:graphicFrameMkLst>
              <pc:docMk/>
              <pc:sldMasterMk cId="2331414960" sldId="2147483648"/>
              <pc:sldLayoutMk cId="1528095049" sldId="2147483651"/>
              <ac:graphicFrameMk id="8" creationId="{33FF38AC-9199-4C9B-B43F-066A2C6DEEAA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517" v="4551"/>
          <pc:sldLayoutMkLst>
            <pc:docMk/>
            <pc:sldMasterMk cId="2331414960" sldId="2147483648"/>
            <pc:sldLayoutMk cId="3585059979" sldId="2147483652"/>
          </pc:sldLayoutMkLst>
          <pc:spChg chg="mod">
            <ac:chgData name="Pol Cunyat Llorens" userId="7d9d6803-1d02-4a93-b87d-f75ca3a15424" providerId="ADAL" clId="{DE0C7E4A-E8D8-4CE7-A8B3-2AF426F55426}" dt="2022-11-23T18:55:38.280" v="4285" actId="948"/>
            <ac:spMkLst>
              <pc:docMk/>
              <pc:sldMasterMk cId="2331414960" sldId="2147483648"/>
              <pc:sldLayoutMk cId="3585059979" sldId="2147483652"/>
              <ac:spMk id="2" creationId="{DC04AB99-E357-4172-8767-2A1D885CCA1F}"/>
            </ac:spMkLst>
          </pc:spChg>
          <pc:spChg chg="mod">
            <ac:chgData name="Pol Cunyat Llorens" userId="7d9d6803-1d02-4a93-b87d-f75ca3a15424" providerId="ADAL" clId="{DE0C7E4A-E8D8-4CE7-A8B3-2AF426F55426}" dt="2022-11-23T18:55:36.984" v="4006" actId="790"/>
            <ac:spMkLst>
              <pc:docMk/>
              <pc:sldMasterMk cId="2331414960" sldId="2147483648"/>
              <pc:sldLayoutMk cId="3585059979" sldId="2147483652"/>
              <ac:spMk id="3" creationId="{4FAC2417-618D-40C3-B26E-A25A84026511}"/>
            </ac:spMkLst>
          </pc:spChg>
          <pc:spChg chg="mod">
            <ac:chgData name="Pol Cunyat Llorens" userId="7d9d6803-1d02-4a93-b87d-f75ca3a15424" providerId="ADAL" clId="{DE0C7E4A-E8D8-4CE7-A8B3-2AF426F55426}" dt="2022-11-23T18:55:36.987" v="4007" actId="790"/>
            <ac:spMkLst>
              <pc:docMk/>
              <pc:sldMasterMk cId="2331414960" sldId="2147483648"/>
              <pc:sldLayoutMk cId="3585059979" sldId="2147483652"/>
              <ac:spMk id="4" creationId="{EA1EABC9-3BD8-42CC-A009-98EF51598CA9}"/>
            </ac:spMkLst>
          </pc:spChg>
          <pc:spChg chg="mod">
            <ac:chgData name="Pol Cunyat Llorens" userId="7d9d6803-1d02-4a93-b87d-f75ca3a15424" providerId="ADAL" clId="{DE0C7E4A-E8D8-4CE7-A8B3-2AF426F55426}" dt="2022-11-23T18:55:36.989" v="4008" actId="790"/>
            <ac:spMkLst>
              <pc:docMk/>
              <pc:sldMasterMk cId="2331414960" sldId="2147483648"/>
              <pc:sldLayoutMk cId="3585059979" sldId="2147483652"/>
              <ac:spMk id="5" creationId="{BF294A70-7652-42F2-8AAF-94C5851B7938}"/>
            </ac:spMkLst>
          </pc:spChg>
          <pc:spChg chg="mod">
            <ac:chgData name="Pol Cunyat Llorens" userId="7d9d6803-1d02-4a93-b87d-f75ca3a15424" providerId="ADAL" clId="{DE0C7E4A-E8D8-4CE7-A8B3-2AF426F55426}" dt="2022-11-23T18:55:36.992" v="4011" actId="20577"/>
            <ac:spMkLst>
              <pc:docMk/>
              <pc:sldMasterMk cId="2331414960" sldId="2147483648"/>
              <pc:sldLayoutMk cId="3585059979" sldId="2147483652"/>
              <ac:spMk id="6" creationId="{09D7C1FA-9AF2-4B9C-880D-8A6A94C01471}"/>
            </ac:spMkLst>
          </pc:spChg>
          <pc:spChg chg="mod">
            <ac:chgData name="Pol Cunyat Llorens" userId="7d9d6803-1d02-4a93-b87d-f75ca3a15424" providerId="ADAL" clId="{DE0C7E4A-E8D8-4CE7-A8B3-2AF426F55426}" dt="2022-11-23T18:55:36.993" v="4012" actId="790"/>
            <ac:spMkLst>
              <pc:docMk/>
              <pc:sldMasterMk cId="2331414960" sldId="2147483648"/>
              <pc:sldLayoutMk cId="3585059979" sldId="2147483652"/>
              <ac:spMk id="7" creationId="{BBF5765A-1317-4B93-BA7B-88231F1B26A8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498" v="4536"/>
            <ac:spMkLst>
              <pc:docMk/>
              <pc:sldMasterMk cId="2331414960" sldId="2147483648"/>
              <pc:sldLayoutMk cId="3585059979" sldId="2147483652"/>
              <ac:spMk id="8" creationId="{5725F7C1-8689-4A84-B3FC-15B43F05ABE4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517" v="4551"/>
            <ac:graphicFrameMkLst>
              <pc:docMk/>
              <pc:sldMasterMk cId="2331414960" sldId="2147483648"/>
              <pc:sldLayoutMk cId="3585059979" sldId="2147483652"/>
              <ac:graphicFrameMk id="9" creationId="{E4773BB7-6B0C-4EFE-AF4B-D68A5D3DF6C6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494" v="4532"/>
          <pc:sldLayoutMkLst>
            <pc:docMk/>
            <pc:sldMasterMk cId="2331414960" sldId="2147483648"/>
            <pc:sldLayoutMk cId="1679299088" sldId="2147483653"/>
          </pc:sldLayoutMkLst>
          <pc:spChg chg="mod">
            <ac:chgData name="Pol Cunyat Llorens" userId="7d9d6803-1d02-4a93-b87d-f75ca3a15424" providerId="ADAL" clId="{DE0C7E4A-E8D8-4CE7-A8B3-2AF426F55426}" dt="2022-11-23T18:55:38.251" v="4247" actId="948"/>
            <ac:spMkLst>
              <pc:docMk/>
              <pc:sldMasterMk cId="2331414960" sldId="2147483648"/>
              <pc:sldLayoutMk cId="1679299088" sldId="2147483653"/>
              <ac:spMk id="2" creationId="{573572EF-2CE3-45B4-ABBA-A9567FBEDD31}"/>
            </ac:spMkLst>
          </pc:spChg>
          <pc:spChg chg="mod">
            <ac:chgData name="Pol Cunyat Llorens" userId="7d9d6803-1d02-4a93-b87d-f75ca3a15424" providerId="ADAL" clId="{DE0C7E4A-E8D8-4CE7-A8B3-2AF426F55426}" dt="2022-11-23T18:55:36.998" v="4014" actId="790"/>
            <ac:spMkLst>
              <pc:docMk/>
              <pc:sldMasterMk cId="2331414960" sldId="2147483648"/>
              <pc:sldLayoutMk cId="1679299088" sldId="2147483653"/>
              <ac:spMk id="3" creationId="{C08EA312-119B-45F6-AB4C-8B711D06D631}"/>
            </ac:spMkLst>
          </pc:spChg>
          <pc:spChg chg="mod">
            <ac:chgData name="Pol Cunyat Llorens" userId="7d9d6803-1d02-4a93-b87d-f75ca3a15424" providerId="ADAL" clId="{DE0C7E4A-E8D8-4CE7-A8B3-2AF426F55426}" dt="2022-11-23T18:55:37.001" v="4015" actId="790"/>
            <ac:spMkLst>
              <pc:docMk/>
              <pc:sldMasterMk cId="2331414960" sldId="2147483648"/>
              <pc:sldLayoutMk cId="1679299088" sldId="2147483653"/>
              <ac:spMk id="4" creationId="{F06BC51F-DB54-4428-855E-26D6BAAF8C1B}"/>
            </ac:spMkLst>
          </pc:spChg>
          <pc:spChg chg="mod">
            <ac:chgData name="Pol Cunyat Llorens" userId="7d9d6803-1d02-4a93-b87d-f75ca3a15424" providerId="ADAL" clId="{DE0C7E4A-E8D8-4CE7-A8B3-2AF426F55426}" dt="2022-11-23T18:55:37.003" v="4016" actId="790"/>
            <ac:spMkLst>
              <pc:docMk/>
              <pc:sldMasterMk cId="2331414960" sldId="2147483648"/>
              <pc:sldLayoutMk cId="1679299088" sldId="2147483653"/>
              <ac:spMk id="5" creationId="{D5E5D30B-84B0-42C8-80EC-ADC7D6ED0E44}"/>
            </ac:spMkLst>
          </pc:spChg>
          <pc:spChg chg="mod">
            <ac:chgData name="Pol Cunyat Llorens" userId="7d9d6803-1d02-4a93-b87d-f75ca3a15424" providerId="ADAL" clId="{DE0C7E4A-E8D8-4CE7-A8B3-2AF426F55426}" dt="2022-11-23T18:55:37.005" v="4017" actId="790"/>
            <ac:spMkLst>
              <pc:docMk/>
              <pc:sldMasterMk cId="2331414960" sldId="2147483648"/>
              <pc:sldLayoutMk cId="1679299088" sldId="2147483653"/>
              <ac:spMk id="6" creationId="{B6F96C27-6E89-47A0-8B1F-D9884A637FF0}"/>
            </ac:spMkLst>
          </pc:spChg>
          <pc:spChg chg="mod">
            <ac:chgData name="Pol Cunyat Llorens" userId="7d9d6803-1d02-4a93-b87d-f75ca3a15424" providerId="ADAL" clId="{DE0C7E4A-E8D8-4CE7-A8B3-2AF426F55426}" dt="2022-11-23T18:55:37.007" v="4018" actId="790"/>
            <ac:spMkLst>
              <pc:docMk/>
              <pc:sldMasterMk cId="2331414960" sldId="2147483648"/>
              <pc:sldLayoutMk cId="1679299088" sldId="2147483653"/>
              <ac:spMk id="7" creationId="{5A32C060-189B-4E9A-8B61-55790ECE337A}"/>
            </ac:spMkLst>
          </pc:spChg>
          <pc:spChg chg="mod">
            <ac:chgData name="Pol Cunyat Llorens" userId="7d9d6803-1d02-4a93-b87d-f75ca3a15424" providerId="ADAL" clId="{DE0C7E4A-E8D8-4CE7-A8B3-2AF426F55426}" dt="2022-11-23T18:55:37.011" v="4021" actId="20577"/>
            <ac:spMkLst>
              <pc:docMk/>
              <pc:sldMasterMk cId="2331414960" sldId="2147483648"/>
              <pc:sldLayoutMk cId="1679299088" sldId="2147483653"/>
              <ac:spMk id="8" creationId="{C12BA704-EBA0-4D86-A978-9DA802A50E1F}"/>
            </ac:spMkLst>
          </pc:spChg>
          <pc:spChg chg="mod">
            <ac:chgData name="Pol Cunyat Llorens" userId="7d9d6803-1d02-4a93-b87d-f75ca3a15424" providerId="ADAL" clId="{DE0C7E4A-E8D8-4CE7-A8B3-2AF426F55426}" dt="2022-11-23T18:55:37.012" v="4022" actId="790"/>
            <ac:spMkLst>
              <pc:docMk/>
              <pc:sldMasterMk cId="2331414960" sldId="2147483648"/>
              <pc:sldLayoutMk cId="1679299088" sldId="2147483653"/>
              <ac:spMk id="9" creationId="{95EB9D70-9866-4EC5-B28B-153F4D5C16B6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472" v="4517"/>
            <ac:spMkLst>
              <pc:docMk/>
              <pc:sldMasterMk cId="2331414960" sldId="2147483648"/>
              <pc:sldLayoutMk cId="1679299088" sldId="2147483653"/>
              <ac:spMk id="10" creationId="{3B31AC8A-4E63-4F11-9F34-7EE9BB3D70FF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94" v="4532"/>
            <ac:graphicFrameMkLst>
              <pc:docMk/>
              <pc:sldMasterMk cId="2331414960" sldId="2147483648"/>
              <pc:sldLayoutMk cId="1679299088" sldId="2147483653"/>
              <ac:graphicFrameMk id="11" creationId="{8F75F8A1-BC2E-4C77-A987-90F44AF65214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449" v="4496"/>
          <pc:sldLayoutMkLst>
            <pc:docMk/>
            <pc:sldMasterMk cId="2331414960" sldId="2147483648"/>
            <pc:sldLayoutMk cId="296235012" sldId="2147483654"/>
          </pc:sldLayoutMkLst>
          <pc:spChg chg="mod">
            <ac:chgData name="Pol Cunyat Llorens" userId="7d9d6803-1d02-4a93-b87d-f75ca3a15424" providerId="ADAL" clId="{DE0C7E4A-E8D8-4CE7-A8B3-2AF426F55426}" dt="2022-11-23T18:55:38.193" v="4171" actId="948"/>
            <ac:spMkLst>
              <pc:docMk/>
              <pc:sldMasterMk cId="2331414960" sldId="2147483648"/>
              <pc:sldLayoutMk cId="296235012" sldId="2147483654"/>
              <ac:spMk id="2" creationId="{E725178C-1D54-417A-87D2-F9DA3F432479}"/>
            </ac:spMkLst>
          </pc:spChg>
          <pc:spChg chg="mod">
            <ac:chgData name="Pol Cunyat Llorens" userId="7d9d6803-1d02-4a93-b87d-f75ca3a15424" providerId="ADAL" clId="{DE0C7E4A-E8D8-4CE7-A8B3-2AF426F55426}" dt="2022-11-23T18:55:37.015" v="4024" actId="790"/>
            <ac:spMkLst>
              <pc:docMk/>
              <pc:sldMasterMk cId="2331414960" sldId="2147483648"/>
              <pc:sldLayoutMk cId="296235012" sldId="2147483654"/>
              <ac:spMk id="3" creationId="{1C7AA9F9-8B51-46A5-B6E4-BB948CCB3E4C}"/>
            </ac:spMkLst>
          </pc:spChg>
          <pc:spChg chg="mod">
            <ac:chgData name="Pol Cunyat Llorens" userId="7d9d6803-1d02-4a93-b87d-f75ca3a15424" providerId="ADAL" clId="{DE0C7E4A-E8D8-4CE7-A8B3-2AF426F55426}" dt="2022-11-23T18:55:37.019" v="4027" actId="20577"/>
            <ac:spMkLst>
              <pc:docMk/>
              <pc:sldMasterMk cId="2331414960" sldId="2147483648"/>
              <pc:sldLayoutMk cId="296235012" sldId="2147483654"/>
              <ac:spMk id="4" creationId="{4900AD24-F366-4457-AE9D-0AE2AA5527C3}"/>
            </ac:spMkLst>
          </pc:spChg>
          <pc:spChg chg="mod">
            <ac:chgData name="Pol Cunyat Llorens" userId="7d9d6803-1d02-4a93-b87d-f75ca3a15424" providerId="ADAL" clId="{DE0C7E4A-E8D8-4CE7-A8B3-2AF426F55426}" dt="2022-11-23T18:55:37.020" v="4028" actId="790"/>
            <ac:spMkLst>
              <pc:docMk/>
              <pc:sldMasterMk cId="2331414960" sldId="2147483648"/>
              <pc:sldLayoutMk cId="296235012" sldId="2147483654"/>
              <ac:spMk id="5" creationId="{4968A61D-316A-42D0-847D-EA7464C82B18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423" v="4481"/>
            <ac:spMkLst>
              <pc:docMk/>
              <pc:sldMasterMk cId="2331414960" sldId="2147483648"/>
              <pc:sldLayoutMk cId="296235012" sldId="2147483654"/>
              <ac:spMk id="6" creationId="{60500902-962E-4354-8059-6E08C2CEBDB1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449" v="4496"/>
            <ac:graphicFrameMkLst>
              <pc:docMk/>
              <pc:sldMasterMk cId="2331414960" sldId="2147483648"/>
              <pc:sldLayoutMk cId="296235012" sldId="2147483654"/>
              <ac:graphicFrameMk id="7" creationId="{DC533C10-CFC6-4FD9-A633-B6A706C7D491}"/>
            </ac:graphicFrameMkLst>
          </pc:graphicFrameChg>
        </pc:sldLayoutChg>
        <pc:sldLayoutChg chg="addSp modSp mod">
          <pc:chgData name="Pol Cunyat Llorens" userId="7d9d6803-1d02-4a93-b87d-f75ca3a15424" providerId="ADAL" clId="{DE0C7E4A-E8D8-4CE7-A8B3-2AF426F55426}" dt="2022-11-23T18:55:38.625" v="4634"/>
          <pc:sldLayoutMkLst>
            <pc:docMk/>
            <pc:sldMasterMk cId="2331414960" sldId="2147483648"/>
            <pc:sldLayoutMk cId="3392972769" sldId="2147483655"/>
          </pc:sldLayoutMkLst>
          <pc:spChg chg="mod">
            <ac:chgData name="Pol Cunyat Llorens" userId="7d9d6803-1d02-4a93-b87d-f75ca3a15424" providerId="ADAL" clId="{DE0C7E4A-E8D8-4CE7-A8B3-2AF426F55426}" dt="2022-11-23T18:55:37.022" v="4029" actId="790"/>
            <ac:spMkLst>
              <pc:docMk/>
              <pc:sldMasterMk cId="2331414960" sldId="2147483648"/>
              <pc:sldLayoutMk cId="3392972769" sldId="2147483655"/>
              <ac:spMk id="2" creationId="{08A994BE-44FA-486A-B6FE-73075F6F9F77}"/>
            </ac:spMkLst>
          </pc:spChg>
          <pc:spChg chg="mod">
            <ac:chgData name="Pol Cunyat Llorens" userId="7d9d6803-1d02-4a93-b87d-f75ca3a15424" providerId="ADAL" clId="{DE0C7E4A-E8D8-4CE7-A8B3-2AF426F55426}" dt="2022-11-23T18:55:37.025" v="4032" actId="20577"/>
            <ac:spMkLst>
              <pc:docMk/>
              <pc:sldMasterMk cId="2331414960" sldId="2147483648"/>
              <pc:sldLayoutMk cId="3392972769" sldId="2147483655"/>
              <ac:spMk id="3" creationId="{3A8C7A43-1C4C-4F1F-A274-0CBD45B54978}"/>
            </ac:spMkLst>
          </pc:spChg>
          <pc:spChg chg="mod">
            <ac:chgData name="Pol Cunyat Llorens" userId="7d9d6803-1d02-4a93-b87d-f75ca3a15424" providerId="ADAL" clId="{DE0C7E4A-E8D8-4CE7-A8B3-2AF426F55426}" dt="2022-11-23T18:55:37.026" v="4033" actId="790"/>
            <ac:spMkLst>
              <pc:docMk/>
              <pc:sldMasterMk cId="2331414960" sldId="2147483648"/>
              <pc:sldLayoutMk cId="3392972769" sldId="2147483655"/>
              <ac:spMk id="4" creationId="{79C895A6-61A0-495F-959A-ECD028659B16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625" v="4634"/>
            <ac:graphicFrameMkLst>
              <pc:docMk/>
              <pc:sldMasterMk cId="2331414960" sldId="2147483648"/>
              <pc:sldLayoutMk cId="3392972769" sldId="2147483655"/>
              <ac:graphicFrameMk id="5" creationId="{3343ED7F-7CD8-43D3-BBE9-B3B868E06AEC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582" v="4602"/>
          <pc:sldLayoutMkLst>
            <pc:docMk/>
            <pc:sldMasterMk cId="2331414960" sldId="2147483648"/>
            <pc:sldLayoutMk cId="1774864107" sldId="2147483656"/>
          </pc:sldLayoutMkLst>
          <pc:spChg chg="mod">
            <ac:chgData name="Pol Cunyat Llorens" userId="7d9d6803-1d02-4a93-b87d-f75ca3a15424" providerId="ADAL" clId="{DE0C7E4A-E8D8-4CE7-A8B3-2AF426F55426}" dt="2022-11-23T18:55:38.356" v="4400" actId="948"/>
            <ac:spMkLst>
              <pc:docMk/>
              <pc:sldMasterMk cId="2331414960" sldId="2147483648"/>
              <pc:sldLayoutMk cId="1774864107" sldId="2147483656"/>
              <ac:spMk id="2" creationId="{A75838E5-03A7-4D76-9AE0-7EC12209468B}"/>
            </ac:spMkLst>
          </pc:spChg>
          <pc:spChg chg="mod">
            <ac:chgData name="Pol Cunyat Llorens" userId="7d9d6803-1d02-4a93-b87d-f75ca3a15424" providerId="ADAL" clId="{DE0C7E4A-E8D8-4CE7-A8B3-2AF426F55426}" dt="2022-11-23T18:55:37.031" v="4035" actId="790"/>
            <ac:spMkLst>
              <pc:docMk/>
              <pc:sldMasterMk cId="2331414960" sldId="2147483648"/>
              <pc:sldLayoutMk cId="1774864107" sldId="2147483656"/>
              <ac:spMk id="3" creationId="{8C48C2D7-347E-4A93-B381-895631087B52}"/>
            </ac:spMkLst>
          </pc:spChg>
          <pc:spChg chg="mod">
            <ac:chgData name="Pol Cunyat Llorens" userId="7d9d6803-1d02-4a93-b87d-f75ca3a15424" providerId="ADAL" clId="{DE0C7E4A-E8D8-4CE7-A8B3-2AF426F55426}" dt="2022-11-23T18:55:37.034" v="4036" actId="790"/>
            <ac:spMkLst>
              <pc:docMk/>
              <pc:sldMasterMk cId="2331414960" sldId="2147483648"/>
              <pc:sldLayoutMk cId="1774864107" sldId="2147483656"/>
              <ac:spMk id="4" creationId="{7B36B771-3751-4B66-B613-7D1051DB4927}"/>
            </ac:spMkLst>
          </pc:spChg>
          <pc:spChg chg="mod">
            <ac:chgData name="Pol Cunyat Llorens" userId="7d9d6803-1d02-4a93-b87d-f75ca3a15424" providerId="ADAL" clId="{DE0C7E4A-E8D8-4CE7-A8B3-2AF426F55426}" dt="2022-11-23T18:55:37.036" v="4037" actId="790"/>
            <ac:spMkLst>
              <pc:docMk/>
              <pc:sldMasterMk cId="2331414960" sldId="2147483648"/>
              <pc:sldLayoutMk cId="1774864107" sldId="2147483656"/>
              <ac:spMk id="5" creationId="{155A1B6C-8E4C-4E75-8EE4-237193AFEAFD}"/>
            </ac:spMkLst>
          </pc:spChg>
          <pc:spChg chg="mod">
            <ac:chgData name="Pol Cunyat Llorens" userId="7d9d6803-1d02-4a93-b87d-f75ca3a15424" providerId="ADAL" clId="{DE0C7E4A-E8D8-4CE7-A8B3-2AF426F55426}" dt="2022-11-23T18:55:37.039" v="4040" actId="20577"/>
            <ac:spMkLst>
              <pc:docMk/>
              <pc:sldMasterMk cId="2331414960" sldId="2147483648"/>
              <pc:sldLayoutMk cId="1774864107" sldId="2147483656"/>
              <ac:spMk id="6" creationId="{CFEA3248-87FE-49CC-A5FE-6960E239D349}"/>
            </ac:spMkLst>
          </pc:spChg>
          <pc:spChg chg="mod">
            <ac:chgData name="Pol Cunyat Llorens" userId="7d9d6803-1d02-4a93-b87d-f75ca3a15424" providerId="ADAL" clId="{DE0C7E4A-E8D8-4CE7-A8B3-2AF426F55426}" dt="2022-11-23T18:55:37.040" v="4041" actId="790"/>
            <ac:spMkLst>
              <pc:docMk/>
              <pc:sldMasterMk cId="2331414960" sldId="2147483648"/>
              <pc:sldLayoutMk cId="1774864107" sldId="2147483656"/>
              <ac:spMk id="7" creationId="{6F2CE004-6BAC-462E-A2FD-7442C77F3F79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562" v="4587"/>
            <ac:spMkLst>
              <pc:docMk/>
              <pc:sldMasterMk cId="2331414960" sldId="2147483648"/>
              <pc:sldLayoutMk cId="1774864107" sldId="2147483656"/>
              <ac:spMk id="8" creationId="{C5882418-63ED-4ADE-B29B-1E070E22340D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582" v="4602"/>
            <ac:graphicFrameMkLst>
              <pc:docMk/>
              <pc:sldMasterMk cId="2331414960" sldId="2147483648"/>
              <pc:sldLayoutMk cId="1774864107" sldId="2147483656"/>
              <ac:graphicFrameMk id="9" creationId="{03CF28B2-82D2-4EAD-8C72-640A82B6AFF2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605" v="4619"/>
          <pc:sldLayoutMkLst>
            <pc:docMk/>
            <pc:sldMasterMk cId="2331414960" sldId="2147483648"/>
            <pc:sldLayoutMk cId="2593814260" sldId="2147483657"/>
          </pc:sldLayoutMkLst>
          <pc:spChg chg="mod">
            <ac:chgData name="Pol Cunyat Llorens" userId="7d9d6803-1d02-4a93-b87d-f75ca3a15424" providerId="ADAL" clId="{DE0C7E4A-E8D8-4CE7-A8B3-2AF426F55426}" dt="2022-11-23T18:55:38.381" v="4438" actId="948"/>
            <ac:spMkLst>
              <pc:docMk/>
              <pc:sldMasterMk cId="2331414960" sldId="2147483648"/>
              <pc:sldLayoutMk cId="2593814260" sldId="2147483657"/>
              <ac:spMk id="2" creationId="{5C811B77-01ED-4CBA-9ADF-B71746881774}"/>
            </ac:spMkLst>
          </pc:spChg>
          <pc:spChg chg="mod">
            <ac:chgData name="Pol Cunyat Llorens" userId="7d9d6803-1d02-4a93-b87d-f75ca3a15424" providerId="ADAL" clId="{DE0C7E4A-E8D8-4CE7-A8B3-2AF426F55426}" dt="2022-11-23T18:55:37.045" v="4043" actId="790"/>
            <ac:spMkLst>
              <pc:docMk/>
              <pc:sldMasterMk cId="2331414960" sldId="2147483648"/>
              <pc:sldLayoutMk cId="2593814260" sldId="2147483657"/>
              <ac:spMk id="4" creationId="{2CFFB2B9-A965-46B9-A780-7FE2ABF265B6}"/>
            </ac:spMkLst>
          </pc:spChg>
          <pc:spChg chg="mod">
            <ac:chgData name="Pol Cunyat Llorens" userId="7d9d6803-1d02-4a93-b87d-f75ca3a15424" providerId="ADAL" clId="{DE0C7E4A-E8D8-4CE7-A8B3-2AF426F55426}" dt="2022-11-23T18:55:37.046" v="4044" actId="790"/>
            <ac:spMkLst>
              <pc:docMk/>
              <pc:sldMasterMk cId="2331414960" sldId="2147483648"/>
              <pc:sldLayoutMk cId="2593814260" sldId="2147483657"/>
              <ac:spMk id="5" creationId="{D39A2691-878B-4F96-B968-98FA6D965F35}"/>
            </ac:spMkLst>
          </pc:spChg>
          <pc:spChg chg="mod">
            <ac:chgData name="Pol Cunyat Llorens" userId="7d9d6803-1d02-4a93-b87d-f75ca3a15424" providerId="ADAL" clId="{DE0C7E4A-E8D8-4CE7-A8B3-2AF426F55426}" dt="2022-11-23T18:55:37.050" v="4047" actId="20577"/>
            <ac:spMkLst>
              <pc:docMk/>
              <pc:sldMasterMk cId="2331414960" sldId="2147483648"/>
              <pc:sldLayoutMk cId="2593814260" sldId="2147483657"/>
              <ac:spMk id="6" creationId="{D52B2627-2514-4FB1-87B3-3BDBA5E1C41C}"/>
            </ac:spMkLst>
          </pc:spChg>
          <pc:spChg chg="mod">
            <ac:chgData name="Pol Cunyat Llorens" userId="7d9d6803-1d02-4a93-b87d-f75ca3a15424" providerId="ADAL" clId="{DE0C7E4A-E8D8-4CE7-A8B3-2AF426F55426}" dt="2022-11-23T18:55:37.051" v="4048" actId="790"/>
            <ac:spMkLst>
              <pc:docMk/>
              <pc:sldMasterMk cId="2331414960" sldId="2147483648"/>
              <pc:sldLayoutMk cId="2593814260" sldId="2147483657"/>
              <ac:spMk id="7" creationId="{35635AA4-49A7-430D-A1D9-2B2DE131F9B7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583" v="4604"/>
            <ac:spMkLst>
              <pc:docMk/>
              <pc:sldMasterMk cId="2331414960" sldId="2147483648"/>
              <pc:sldLayoutMk cId="2593814260" sldId="2147483657"/>
              <ac:spMk id="8" creationId="{07357DFD-DA35-4618-B821-0C9BD9B57DB2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605" v="4619"/>
            <ac:graphicFrameMkLst>
              <pc:docMk/>
              <pc:sldMasterMk cId="2331414960" sldId="2147483648"/>
              <pc:sldLayoutMk cId="2593814260" sldId="2147483657"/>
              <ac:graphicFrameMk id="9" creationId="{2ACF99C2-6065-4349-A0EC-6E644DF0AC11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561" v="4585"/>
          <pc:sldLayoutMkLst>
            <pc:docMk/>
            <pc:sldMasterMk cId="2331414960" sldId="2147483648"/>
            <pc:sldLayoutMk cId="2064529107" sldId="2147483658"/>
          </pc:sldLayoutMkLst>
          <pc:spChg chg="mod">
            <ac:chgData name="Pol Cunyat Llorens" userId="7d9d6803-1d02-4a93-b87d-f75ca3a15424" providerId="ADAL" clId="{DE0C7E4A-E8D8-4CE7-A8B3-2AF426F55426}" dt="2022-11-23T18:55:38.331" v="4362" actId="948"/>
            <ac:spMkLst>
              <pc:docMk/>
              <pc:sldMasterMk cId="2331414960" sldId="2147483648"/>
              <pc:sldLayoutMk cId="2064529107" sldId="2147483658"/>
              <ac:spMk id="2" creationId="{3F31198D-F9E9-4C50-90FE-A96AAED74A12}"/>
            </ac:spMkLst>
          </pc:spChg>
          <pc:spChg chg="mod">
            <ac:chgData name="Pol Cunyat Llorens" userId="7d9d6803-1d02-4a93-b87d-f75ca3a15424" providerId="ADAL" clId="{DE0C7E4A-E8D8-4CE7-A8B3-2AF426F55426}" dt="2022-11-23T18:55:37.055" v="4050" actId="790"/>
            <ac:spMkLst>
              <pc:docMk/>
              <pc:sldMasterMk cId="2331414960" sldId="2147483648"/>
              <pc:sldLayoutMk cId="2064529107" sldId="2147483658"/>
              <ac:spMk id="3" creationId="{A69C9E8B-1E96-4B67-B5B6-CB0445EE2791}"/>
            </ac:spMkLst>
          </pc:spChg>
          <pc:spChg chg="mod">
            <ac:chgData name="Pol Cunyat Llorens" userId="7d9d6803-1d02-4a93-b87d-f75ca3a15424" providerId="ADAL" clId="{DE0C7E4A-E8D8-4CE7-A8B3-2AF426F55426}" dt="2022-11-23T18:55:37.058" v="4051" actId="790"/>
            <ac:spMkLst>
              <pc:docMk/>
              <pc:sldMasterMk cId="2331414960" sldId="2147483648"/>
              <pc:sldLayoutMk cId="2064529107" sldId="2147483658"/>
              <ac:spMk id="4" creationId="{5EA5C969-192B-4209-8DA5-D3E6849F7183}"/>
            </ac:spMkLst>
          </pc:spChg>
          <pc:spChg chg="mod">
            <ac:chgData name="Pol Cunyat Llorens" userId="7d9d6803-1d02-4a93-b87d-f75ca3a15424" providerId="ADAL" clId="{DE0C7E4A-E8D8-4CE7-A8B3-2AF426F55426}" dt="2022-11-23T18:55:37.061" v="4054" actId="20577"/>
            <ac:spMkLst>
              <pc:docMk/>
              <pc:sldMasterMk cId="2331414960" sldId="2147483648"/>
              <pc:sldLayoutMk cId="2064529107" sldId="2147483658"/>
              <ac:spMk id="5" creationId="{B6B6CCFA-7C69-42D8-A3C5-BCC25DD511F1}"/>
            </ac:spMkLst>
          </pc:spChg>
          <pc:spChg chg="mod">
            <ac:chgData name="Pol Cunyat Llorens" userId="7d9d6803-1d02-4a93-b87d-f75ca3a15424" providerId="ADAL" clId="{DE0C7E4A-E8D8-4CE7-A8B3-2AF426F55426}" dt="2022-11-23T18:55:37.062" v="4055" actId="790"/>
            <ac:spMkLst>
              <pc:docMk/>
              <pc:sldMasterMk cId="2331414960" sldId="2147483648"/>
              <pc:sldLayoutMk cId="2064529107" sldId="2147483658"/>
              <ac:spMk id="6" creationId="{9D1B54C8-4C3B-4FC1-B30D-889AC6AECE09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542" v="4570"/>
            <ac:spMkLst>
              <pc:docMk/>
              <pc:sldMasterMk cId="2331414960" sldId="2147483648"/>
              <pc:sldLayoutMk cId="2064529107" sldId="2147483658"/>
              <ac:spMk id="7" creationId="{D7D1A8A1-47AF-4367-98A0-0C5E04D1ADA1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561" v="4585"/>
            <ac:graphicFrameMkLst>
              <pc:docMk/>
              <pc:sldMasterMk cId="2331414960" sldId="2147483648"/>
              <pc:sldLayoutMk cId="2064529107" sldId="2147483658"/>
              <ac:graphicFrameMk id="8" creationId="{3CCAE595-724F-4968-9669-DEE9BD45E853}"/>
            </ac:graphicFrameMkLst>
          </pc:graphicFrameChg>
        </pc:sldLayoutChg>
        <pc:sldLayoutChg chg="addSp delSp modSp mod">
          <pc:chgData name="Pol Cunyat Llorens" userId="7d9d6803-1d02-4a93-b87d-f75ca3a15424" providerId="ADAL" clId="{DE0C7E4A-E8D8-4CE7-A8B3-2AF426F55426}" dt="2022-11-23T18:55:38.541" v="4568"/>
          <pc:sldLayoutMkLst>
            <pc:docMk/>
            <pc:sldMasterMk cId="2331414960" sldId="2147483648"/>
            <pc:sldLayoutMk cId="1653568953" sldId="2147483659"/>
          </pc:sldLayoutMkLst>
          <pc:spChg chg="mod">
            <ac:chgData name="Pol Cunyat Llorens" userId="7d9d6803-1d02-4a93-b87d-f75ca3a15424" providerId="ADAL" clId="{DE0C7E4A-E8D8-4CE7-A8B3-2AF426F55426}" dt="2022-11-23T18:55:38.303" v="4323" actId="948"/>
            <ac:spMkLst>
              <pc:docMk/>
              <pc:sldMasterMk cId="2331414960" sldId="2147483648"/>
              <pc:sldLayoutMk cId="1653568953" sldId="2147483659"/>
              <ac:spMk id="2" creationId="{973EE245-C754-4493-8548-4D6C0DE2AF2E}"/>
            </ac:spMkLst>
          </pc:spChg>
          <pc:spChg chg="mod">
            <ac:chgData name="Pol Cunyat Llorens" userId="7d9d6803-1d02-4a93-b87d-f75ca3a15424" providerId="ADAL" clId="{DE0C7E4A-E8D8-4CE7-A8B3-2AF426F55426}" dt="2022-11-23T18:55:37.066" v="4057" actId="790"/>
            <ac:spMkLst>
              <pc:docMk/>
              <pc:sldMasterMk cId="2331414960" sldId="2147483648"/>
              <pc:sldLayoutMk cId="1653568953" sldId="2147483659"/>
              <ac:spMk id="3" creationId="{9C836DDD-6295-4835-BF1C-4F32E3E75FD1}"/>
            </ac:spMkLst>
          </pc:spChg>
          <pc:spChg chg="mod">
            <ac:chgData name="Pol Cunyat Llorens" userId="7d9d6803-1d02-4a93-b87d-f75ca3a15424" providerId="ADAL" clId="{DE0C7E4A-E8D8-4CE7-A8B3-2AF426F55426}" dt="2022-11-23T18:55:37.069" v="4058" actId="790"/>
            <ac:spMkLst>
              <pc:docMk/>
              <pc:sldMasterMk cId="2331414960" sldId="2147483648"/>
              <pc:sldLayoutMk cId="1653568953" sldId="2147483659"/>
              <ac:spMk id="4" creationId="{B2A60BDE-7AE5-441F-A6A6-E3E8787E8DC8}"/>
            </ac:spMkLst>
          </pc:spChg>
          <pc:spChg chg="mod">
            <ac:chgData name="Pol Cunyat Llorens" userId="7d9d6803-1d02-4a93-b87d-f75ca3a15424" providerId="ADAL" clId="{DE0C7E4A-E8D8-4CE7-A8B3-2AF426F55426}" dt="2022-11-23T18:55:37.072" v="4061" actId="20577"/>
            <ac:spMkLst>
              <pc:docMk/>
              <pc:sldMasterMk cId="2331414960" sldId="2147483648"/>
              <pc:sldLayoutMk cId="1653568953" sldId="2147483659"/>
              <ac:spMk id="5" creationId="{A8C9902A-B3F4-4C62-B49B-8874DEAD1E91}"/>
            </ac:spMkLst>
          </pc:spChg>
          <pc:spChg chg="mod">
            <ac:chgData name="Pol Cunyat Llorens" userId="7d9d6803-1d02-4a93-b87d-f75ca3a15424" providerId="ADAL" clId="{DE0C7E4A-E8D8-4CE7-A8B3-2AF426F55426}" dt="2022-11-23T18:55:37.073" v="4062" actId="790"/>
            <ac:spMkLst>
              <pc:docMk/>
              <pc:sldMasterMk cId="2331414960" sldId="2147483648"/>
              <pc:sldLayoutMk cId="1653568953" sldId="2147483659"/>
              <ac:spMk id="6" creationId="{CF63F343-EE9A-48FC-A173-231CFCF2BE6B}"/>
            </ac:spMkLst>
          </pc:spChg>
          <pc:spChg chg="add del mod modVis">
            <ac:chgData name="Pol Cunyat Llorens" userId="7d9d6803-1d02-4a93-b87d-f75ca3a15424" providerId="ADAL" clId="{DE0C7E4A-E8D8-4CE7-A8B3-2AF426F55426}" dt="2022-11-23T18:55:38.518" v="4553"/>
            <ac:spMkLst>
              <pc:docMk/>
              <pc:sldMasterMk cId="2331414960" sldId="2147483648"/>
              <pc:sldLayoutMk cId="1653568953" sldId="2147483659"/>
              <ac:spMk id="7" creationId="{69E230CD-C8F7-4A0D-8D06-A9968153ECDE}"/>
            </ac:spMkLst>
          </pc:spChg>
          <pc:graphicFrameChg chg="add mod ord modVis">
            <ac:chgData name="Pol Cunyat Llorens" userId="7d9d6803-1d02-4a93-b87d-f75ca3a15424" providerId="ADAL" clId="{DE0C7E4A-E8D8-4CE7-A8B3-2AF426F55426}" dt="2022-11-23T18:55:38.541" v="4568"/>
            <ac:graphicFrameMkLst>
              <pc:docMk/>
              <pc:sldMasterMk cId="2331414960" sldId="2147483648"/>
              <pc:sldLayoutMk cId="1653568953" sldId="2147483659"/>
              <ac:graphicFrameMk id="8" creationId="{1BFE0DCE-3458-4618-B457-79C0D07D6B7E}"/>
            </ac:graphicFrameMkLst>
          </pc:graphicFrameChg>
        </pc:sldLayoutChg>
        <pc:sldLayoutChg chg="del">
          <pc:chgData name="Pol Cunyat Llorens" userId="7d9d6803-1d02-4a93-b87d-f75ca3a15424" providerId="ADAL" clId="{DE0C7E4A-E8D8-4CE7-A8B3-2AF426F55426}" dt="2022-11-23T17:50:45.964" v="1625" actId="2696"/>
          <pc:sldLayoutMkLst>
            <pc:docMk/>
            <pc:sldMasterMk cId="2331414960" sldId="2147483648"/>
            <pc:sldLayoutMk cId="1448577648" sldId="214748366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2EC5F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EC5FC"/>
              </a:solidFill>
              <a:ln w="9525">
                <a:solidFill>
                  <a:srgbClr val="2EC5FC"/>
                </a:solidFill>
              </a:ln>
              <a:effectLst/>
            </c:spPr>
          </c:marker>
          <c:val>
            <c:numRef>
              <c:f>Sheet1!$B$2:$B$4</c:f>
              <c:numCache>
                <c:formatCode>General</c:formatCode>
                <c:ptCount val="3"/>
                <c:pt idx="0">
                  <c:v>0.67</c:v>
                </c:pt>
                <c:pt idx="1">
                  <c:v>0.72</c:v>
                </c:pt>
                <c:pt idx="2">
                  <c:v>0.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E1B-4D00-8A31-A86B03FCF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8627695"/>
        <c:axId val="1898639343"/>
      </c:lineChart>
      <c:catAx>
        <c:axId val="189862769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ES"/>
                  <a:t>Iterat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8639343"/>
        <c:crosses val="autoZero"/>
        <c:auto val="1"/>
        <c:lblAlgn val="ctr"/>
        <c:lblOffset val="100"/>
        <c:noMultiLvlLbl val="0"/>
      </c:catAx>
      <c:valAx>
        <c:axId val="18986393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ES"/>
                  <a:t>r2 Sco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862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B2892C9-3EB2-4F10-9292-67CD8A85C266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F1F71FC0-F7E9-4D32-8E64-C9A09857B7F0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58562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043124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828806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50974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76815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82392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26640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58032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4087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89112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960256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60554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04387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F71FC0-F7E9-4D32-8E64-C9A09857B7F0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12237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734D9C-5361-4AB6-825F-FF0FEC6F8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119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734D9C-5361-4AB6-825F-FF0FEC6F8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lowchart: Process 33">
            <a:extLst>
              <a:ext uri="{FF2B5EF4-FFF2-40B4-BE49-F238E27FC236}">
                <a16:creationId xmlns:a16="http://schemas.microsoft.com/office/drawing/2014/main" id="{86F9B23A-B85E-4B91-98D9-94A014C514B4}"/>
              </a:ext>
            </a:extLst>
          </p:cNvPr>
          <p:cNvSpPr/>
          <p:nvPr userDrawn="1"/>
        </p:nvSpPr>
        <p:spPr>
          <a:xfrm>
            <a:off x="83918" y="2383954"/>
            <a:ext cx="6936128" cy="3495787"/>
          </a:xfrm>
          <a:prstGeom prst="flowChartProcess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BB8F504-4FE3-4E1B-94F8-CE45B43FA6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29172" y="382521"/>
            <a:ext cx="936925" cy="101289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F2AA7666-76F4-4548-9FC5-6C96EF18CEFD}"/>
              </a:ext>
            </a:extLst>
          </p:cNvPr>
          <p:cNvSpPr/>
          <p:nvPr userDrawn="1"/>
        </p:nvSpPr>
        <p:spPr>
          <a:xfrm>
            <a:off x="0" y="0"/>
            <a:ext cx="115747" cy="6858000"/>
          </a:xfrm>
          <a:prstGeom prst="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2130A69-55D3-46BA-9648-E6E22D8C2F3A}"/>
              </a:ext>
            </a:extLst>
          </p:cNvPr>
          <p:cNvSpPr/>
          <p:nvPr userDrawn="1"/>
        </p:nvSpPr>
        <p:spPr>
          <a:xfrm>
            <a:off x="914400" y="2594982"/>
            <a:ext cx="5676900" cy="307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es-ES" sz="2400" b="1" i="0">
                <a:solidFill>
                  <a:schemeClr val="bg1"/>
                </a:solidFill>
              </a:rPr>
              <a:t>Ironhack – Data analytics bootcamp</a:t>
            </a:r>
          </a:p>
          <a:p>
            <a:pPr algn="l" rtl="0"/>
            <a:endParaRPr lang="es-ES" sz="2400" b="1" i="1">
              <a:solidFill>
                <a:schemeClr val="bg1"/>
              </a:solidFill>
            </a:endParaRPr>
          </a:p>
          <a:p>
            <a:pPr algn="l" rtl="0"/>
            <a:r>
              <a:rPr lang="es-ES" sz="2000" b="1" i="1">
                <a:solidFill>
                  <a:schemeClr val="bg1"/>
                </a:solidFill>
              </a:rPr>
              <a:t>Mid-bootcamp project</a:t>
            </a:r>
          </a:p>
          <a:p>
            <a:pPr algn="l" rtl="0"/>
            <a:endParaRPr lang="es-ES" sz="2400" b="1" i="1">
              <a:solidFill>
                <a:schemeClr val="bg1"/>
              </a:solidFill>
            </a:endParaRPr>
          </a:p>
          <a:p>
            <a:pPr algn="l" rtl="0"/>
            <a:r>
              <a:rPr lang="es-ES" sz="2000" b="1" i="0">
                <a:solidFill>
                  <a:schemeClr val="bg1"/>
                </a:solidFill>
              </a:rPr>
              <a:t>Authors: Lucas Sansalvador and Pol Cunyat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396EDC1-F172-4CE4-BE0F-6CE6A99E34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29979"/>
          <a:stretch/>
        </p:blipFill>
        <p:spPr>
          <a:xfrm>
            <a:off x="6247433" y="2383954"/>
            <a:ext cx="5944567" cy="3495787"/>
          </a:xfrm>
          <a:prstGeom prst="rect">
            <a:avLst/>
          </a:prstGeom>
        </p:spPr>
      </p:pic>
      <p:sp>
        <p:nvSpPr>
          <p:cNvPr id="41" name="Flowchart: Process 40">
            <a:extLst>
              <a:ext uri="{FF2B5EF4-FFF2-40B4-BE49-F238E27FC236}">
                <a16:creationId xmlns:a16="http://schemas.microsoft.com/office/drawing/2014/main" id="{11D41356-1E2E-4F1A-AEB1-D3748558B0FC}"/>
              </a:ext>
            </a:extLst>
          </p:cNvPr>
          <p:cNvSpPr/>
          <p:nvPr userDrawn="1"/>
        </p:nvSpPr>
        <p:spPr>
          <a:xfrm>
            <a:off x="6116738" y="2383954"/>
            <a:ext cx="1273215" cy="1487347"/>
          </a:xfrm>
          <a:prstGeom prst="flowChartProcess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  <p:sp>
        <p:nvSpPr>
          <p:cNvPr id="35" name="Parallelogram 34">
            <a:extLst>
              <a:ext uri="{FF2B5EF4-FFF2-40B4-BE49-F238E27FC236}">
                <a16:creationId xmlns:a16="http://schemas.microsoft.com/office/drawing/2014/main" id="{EB1AA053-FA96-4F47-B61F-3FBB95044CBF}"/>
              </a:ext>
            </a:extLst>
          </p:cNvPr>
          <p:cNvSpPr/>
          <p:nvPr userDrawn="1"/>
        </p:nvSpPr>
        <p:spPr>
          <a:xfrm>
            <a:off x="4786132" y="2219128"/>
            <a:ext cx="3887889" cy="4473615"/>
          </a:xfrm>
          <a:prstGeom prst="parallelogram">
            <a:avLst>
              <a:gd name="adj" fmla="val 58086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49639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AE595-724F-4968-9669-DEE9BD45E8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907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AE595-724F-4968-9669-DEE9BD45E8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31198D-F9E9-4C50-90FE-A96AAED74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69C9E8B-1E96-4B67-B5B6-CB0445EE27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A5C969-192B-4209-8DA5-D3E6849F7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6CCFA-7C69-42D8-A3C5-BCC25DD51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1B54C8-4C3B-4FC1-B30D-889AC6AEC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64529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FE0DCE-3458-4618-B457-79C0D07D6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07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FE0DCE-3458-4618-B457-79C0D07D6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973EE245-C754-4493-8548-4D6C0DE2AF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836DDD-6295-4835-BF1C-4F32E3E75F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A60BDE-7AE5-441F-A6A6-E3E8787E8D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C9902A-B3F4-4C62-B49B-8874DEAD1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63F343-EE9A-48FC-A173-231CFCF2B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3568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627C7CC-339F-471D-9500-D1BC8CAA6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129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627C7CC-339F-471D-9500-D1BC8CAA6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A6CD1F-BBCD-46EE-B42E-2C01C2917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es-ES"/>
              <a:t>Ironhack mid-bootcamp projec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A47AB9-5220-401E-9B21-ACCDE5B2B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latin typeface="+mn-lt"/>
              </a:defRPr>
            </a:lvl1pPr>
          </a:lstStyle>
          <a:p>
            <a:r>
              <a:rPr lang="es-ES" sz="1000">
                <a:solidFill>
                  <a:schemeClr val="tx1"/>
                </a:solidFill>
              </a:rPr>
              <a:t>Página</a:t>
            </a:r>
            <a:r>
              <a:rPr lang="es-ES"/>
              <a:t> </a:t>
            </a:r>
            <a:fld id="{8F77E387-C274-4460-9CDF-A1A65A4A802F}" type="slidenum">
              <a:rPr lang="es-ES" sz="1000" smtClean="0">
                <a:solidFill>
                  <a:schemeClr val="tx1"/>
                </a:solidFill>
              </a:rPr>
              <a:pPr/>
              <a:t>‹#›</a:t>
            </a:fld>
            <a:endParaRPr lang="es-ES" sz="1000">
              <a:solidFill>
                <a:schemeClr val="tx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A7CE628-FA78-4B3A-965B-518C8742845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353800" y="243258"/>
            <a:ext cx="509212" cy="5505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4E30A0C-B11B-48AE-8DE9-27259E0B6553}"/>
              </a:ext>
            </a:extLst>
          </p:cNvPr>
          <p:cNvSpPr/>
          <p:nvPr userDrawn="1"/>
        </p:nvSpPr>
        <p:spPr>
          <a:xfrm>
            <a:off x="0" y="0"/>
            <a:ext cx="115747" cy="6858000"/>
          </a:xfrm>
          <a:prstGeom prst="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81404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FF38AC-9199-4C9B-B43F-066A2C6DE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086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3FF38AC-9199-4C9B-B43F-066A2C6DE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2009F7-7887-4A3F-8498-3FEFF47E0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2B1DB5-305A-4CEC-BCD2-F7451FEB69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79D9E7-3A5C-498D-8AAB-58A1E7207C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70197-9A60-4ABE-94C4-E1A33CC36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7220C-74BD-4A9F-8450-C06AC6EF7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8095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773BB7-6B0C-4EFE-AF4B-D68A5D3DF6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154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773BB7-6B0C-4EFE-AF4B-D68A5D3DF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04AB99-E357-4172-8767-2A1D885CC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AC2417-618D-40C3-B26E-A25A840265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1EABC9-3BD8-42CC-A009-98EF51598C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294A70-7652-42F2-8AAF-94C5851B7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D7C1FA-9AF2-4B9C-880D-8A6A94C014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F5765A-1317-4B93-BA7B-88231F1B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850599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F75F8A1-BC2E-4C77-A987-90F44AF65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469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F75F8A1-BC2E-4C77-A987-90F44AF65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3572EF-2CE3-45B4-ABBA-A9567FBED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8EA312-119B-45F6-AB4C-8B711D06D6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6BC51F-DB54-4428-855E-26D6BAAF8C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E5D30B-84B0-42C8-80EC-ADC7D6ED0E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F96C27-6E89-47A0-8B1F-D9884A637F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A32C060-189B-4E9A-8B61-55790ECE3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2BA704-EBA0-4D86-A978-9DA802A50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EB9D70-9866-4EC5-B28B-153F4D5C1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792990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C533C10-CFC6-4FD9-A633-B6A706C7D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688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C533C10-CFC6-4FD9-A633-B6A706C7D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25178C-1D54-417A-87D2-F9DA3F432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7AA9F9-8B51-46A5-B6E4-BB948CCB3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00AD24-F366-4457-AE9D-0AE2AA552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8A61D-316A-42D0-847D-EA7464C82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6235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43ED7F-7CD8-43D3-BBE9-B3B868E06A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707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43ED7F-7CD8-43D3-BBE9-B3B868E06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994BE-44FA-486A-B6FE-73075F6F9F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8C7A43-1C4C-4F1F-A274-0CBD45B54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C895A6-61A0-495F-959A-ECD028659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2972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CF28B2-82D2-4EAD-8C72-640A82B6AF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990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3CF28B2-82D2-4EAD-8C72-640A82B6AF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5838E5-03A7-4D76-9AE0-7EC122094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8C2D7-347E-4A93-B381-895631087B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36B771-3751-4B66-B613-7D1051DB4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5A1B6C-8E4C-4E75-8EE4-237193AFE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EA3248-87FE-49CC-A5FE-6960E239D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2CE004-6BAC-462E-A2FD-7442C77F3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74864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CF99C2-6065-4349-A0EC-6E644DF0A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66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CF99C2-6065-4349-A0EC-6E644DF0AC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811B77-01ED-4CBA-9ADF-B71746881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EEF0F2-D533-4945-A88A-2B16D4EE79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FB2B9-A965-46B9-A780-7FE2ABF265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A2691-878B-4F96-B968-98FA6D965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2B2627-2514-4FB1-87B3-3BDBA5E1C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35AA4-49A7-430D-A1D9-2B2DE131F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93814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623DC9-12BA-4B12-A620-9E81C7E0D5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79686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623DC9-12BA-4B12-A620-9E81C7E0D5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7A1674-9B44-4244-BF76-DB9A096A9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C229F9-34D9-4884-9333-5E4E80F79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0D07EE-1F22-4CE4-A498-F75E7008E5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AF5782-AF08-4CEB-8190-097A81A01D0D}" type="datetimeFigureOut">
              <a:rPr lang="es-ES" smtClean="0"/>
              <a:pPr/>
              <a:t>24/11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38F4B9-6FB3-49FC-B85D-C97F16E88F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1674A7-5BAA-4526-87D4-3F91F87EBB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7E387-C274-4460-9CDF-A1A65A4A80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31414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chart" Target="../charts/chart1.xml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12" Type="http://schemas.openxmlformats.org/officeDocument/2006/relationships/image" Target="../media/image30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25.bin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200771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F8A91F64-1D74-4207-900F-40144A8806E2}"/>
              </a:ext>
            </a:extLst>
          </p:cNvPr>
          <p:cNvSpPr/>
          <p:nvPr/>
        </p:nvSpPr>
        <p:spPr>
          <a:xfrm>
            <a:off x="966328" y="4955459"/>
            <a:ext cx="6788888" cy="1903979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C4F5AF56-3DE5-4C9A-96E5-C2F9E58BD3CB}"/>
              </a:ext>
            </a:extLst>
          </p:cNvPr>
          <p:cNvSpPr/>
          <p:nvPr/>
        </p:nvSpPr>
        <p:spPr>
          <a:xfrm>
            <a:off x="1020588" y="1604624"/>
            <a:ext cx="7040747" cy="2479581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5657242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Obtención de Resultado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7ADC813-40D8-41A6-BFC5-DF082ED35F64}"/>
              </a:ext>
            </a:extLst>
          </p:cNvPr>
          <p:cNvGrpSpPr/>
          <p:nvPr/>
        </p:nvGrpSpPr>
        <p:grpSpPr>
          <a:xfrm>
            <a:off x="814386" y="2303114"/>
            <a:ext cx="6919913" cy="2876254"/>
            <a:chOff x="1004887" y="1790996"/>
            <a:chExt cx="7305675" cy="320992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2D5D7F8-8535-4C66-B53D-CC3D21065956}"/>
                </a:ext>
              </a:extLst>
            </p:cNvPr>
            <p:cNvGrpSpPr/>
            <p:nvPr/>
          </p:nvGrpSpPr>
          <p:grpSpPr>
            <a:xfrm>
              <a:off x="1004887" y="1790996"/>
              <a:ext cx="7305675" cy="1581150"/>
              <a:chOff x="1004887" y="1790996"/>
              <a:chExt cx="7305675" cy="1581150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A9279350-77A7-4F13-9CA6-471CA82B6575}"/>
                  </a:ext>
                </a:extLst>
              </p:cNvPr>
              <p:cNvGrpSpPr/>
              <p:nvPr/>
            </p:nvGrpSpPr>
            <p:grpSpPr>
              <a:xfrm>
                <a:off x="1004887" y="1790996"/>
                <a:ext cx="7305675" cy="1581150"/>
                <a:chOff x="1395412" y="3181350"/>
                <a:chExt cx="7305675" cy="1581150"/>
              </a:xfrm>
            </p:grpSpPr>
            <p:pic>
              <p:nvPicPr>
                <p:cNvPr id="3" name="Picture 2">
                  <a:extLst>
                    <a:ext uri="{FF2B5EF4-FFF2-40B4-BE49-F238E27FC236}">
                      <a16:creationId xmlns:a16="http://schemas.microsoft.com/office/drawing/2014/main" id="{8D0186EF-C4C9-48BB-9694-DA4589146B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95412" y="3181350"/>
                  <a:ext cx="7305675" cy="876300"/>
                </a:xfrm>
                <a:prstGeom prst="rect">
                  <a:avLst/>
                </a:prstGeom>
              </p:spPr>
            </p:pic>
            <p:pic>
              <p:nvPicPr>
                <p:cNvPr id="8" name="Picture 7">
                  <a:extLst>
                    <a:ext uri="{FF2B5EF4-FFF2-40B4-BE49-F238E27FC236}">
                      <a16:creationId xmlns:a16="http://schemas.microsoft.com/office/drawing/2014/main" id="{AC916BC7-3BA7-4020-BF81-C9660EC981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395412" y="4057650"/>
                  <a:ext cx="6810375" cy="704850"/>
                </a:xfrm>
                <a:prstGeom prst="rect">
                  <a:avLst/>
                </a:prstGeom>
              </p:spPr>
            </p:pic>
          </p:grp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D9079AA-8F4F-4F43-B231-EC3308F4CD98}"/>
                  </a:ext>
                </a:extLst>
              </p:cNvPr>
              <p:cNvSpPr/>
              <p:nvPr/>
            </p:nvSpPr>
            <p:spPr>
              <a:xfrm>
                <a:off x="1004887" y="2876550"/>
                <a:ext cx="6810375" cy="409576"/>
              </a:xfrm>
              <a:prstGeom prst="rect">
                <a:avLst/>
              </a:prstGeom>
              <a:noFill/>
              <a:ln w="28575">
                <a:solidFill>
                  <a:srgbClr val="2EC5F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82322E2-FF3D-46BD-AE2E-0DDB8383FE5E}"/>
                </a:ext>
              </a:extLst>
            </p:cNvPr>
            <p:cNvGrpSpPr/>
            <p:nvPr/>
          </p:nvGrpSpPr>
          <p:grpSpPr>
            <a:xfrm>
              <a:off x="1004887" y="3495971"/>
              <a:ext cx="7200901" cy="1504950"/>
              <a:chOff x="1004886" y="3820116"/>
              <a:chExt cx="7200901" cy="1504950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0AB200CA-CE30-4D51-838E-A7E17F7952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004887" y="3820116"/>
                <a:ext cx="7200900" cy="1504950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44883C-DAAF-49EB-B1CD-CF1958F3DA3C}"/>
                  </a:ext>
                </a:extLst>
              </p:cNvPr>
              <p:cNvSpPr/>
              <p:nvPr/>
            </p:nvSpPr>
            <p:spPr>
              <a:xfrm>
                <a:off x="1004886" y="4905966"/>
                <a:ext cx="7020000" cy="409576"/>
              </a:xfrm>
              <a:prstGeom prst="rect">
                <a:avLst/>
              </a:prstGeom>
              <a:noFill/>
              <a:ln w="28575">
                <a:solidFill>
                  <a:srgbClr val="2EC5F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1026" name="Picture 2" descr="scikit-learn - Wikipedia">
            <a:extLst>
              <a:ext uri="{FF2B5EF4-FFF2-40B4-BE49-F238E27FC236}">
                <a16:creationId xmlns:a16="http://schemas.microsoft.com/office/drawing/2014/main" id="{A7FCC856-DCAB-47D8-8A58-F19BF49CAA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2" y="929119"/>
            <a:ext cx="2014538" cy="1084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D2AC5517-69D9-4223-9184-E48146D0B1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4248781"/>
              </p:ext>
            </p:extLst>
          </p:nvPr>
        </p:nvGraphicFramePr>
        <p:xfrm>
          <a:off x="1083844" y="5367399"/>
          <a:ext cx="591185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5925">
                  <a:extLst>
                    <a:ext uri="{9D8B030D-6E8A-4147-A177-3AD203B41FA5}">
                      <a16:colId xmlns:a16="http://schemas.microsoft.com/office/drawing/2014/main" val="97245524"/>
                    </a:ext>
                  </a:extLst>
                </a:gridCol>
                <a:gridCol w="2955925">
                  <a:extLst>
                    <a:ext uri="{9D8B030D-6E8A-4147-A177-3AD203B41FA5}">
                      <a16:colId xmlns:a16="http://schemas.microsoft.com/office/drawing/2014/main" val="225691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_tradnl"/>
                        <a:t>Train Size</a:t>
                      </a:r>
                      <a:endParaRPr lang="es-ES"/>
                    </a:p>
                  </a:txBody>
                  <a:tcPr>
                    <a:solidFill>
                      <a:srgbClr val="2EC5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/>
                        <a:t>Test Size</a:t>
                      </a:r>
                      <a:endParaRPr lang="es-ES"/>
                    </a:p>
                  </a:txBody>
                  <a:tcPr>
                    <a:solidFill>
                      <a:srgbClr val="2EC5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107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0,7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A8E7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0,3</a:t>
                      </a:r>
                      <a:endParaRPr lang="es-ES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A8E7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507567"/>
                  </a:ext>
                </a:extLst>
              </a:tr>
            </a:tbl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0F67F6C-2654-4AAA-B115-D5E9AF6E37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3659837"/>
              </p:ext>
            </p:extLst>
          </p:nvPr>
        </p:nvGraphicFramePr>
        <p:xfrm>
          <a:off x="7808160" y="2480026"/>
          <a:ext cx="3569453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3270796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C4F5AF56-3DE5-4C9A-96E5-C2F9E58BD3CB}"/>
              </a:ext>
            </a:extLst>
          </p:cNvPr>
          <p:cNvSpPr/>
          <p:nvPr/>
        </p:nvSpPr>
        <p:spPr>
          <a:xfrm>
            <a:off x="1020588" y="1604624"/>
            <a:ext cx="7040747" cy="3297740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72477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713D094-5544-4038-A7B6-11AAC3006101}"/>
              </a:ext>
            </a:extLst>
          </p:cNvPr>
          <p:cNvSpPr/>
          <p:nvPr/>
        </p:nvSpPr>
        <p:spPr>
          <a:xfrm>
            <a:off x="116601" y="625"/>
            <a:ext cx="120753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bg1"/>
                </a:solidFill>
              </a:rPr>
              <a:t>Visualización en </a:t>
            </a:r>
            <a:r>
              <a:rPr lang="es-ES" sz="2000" b="1" i="1" err="1">
                <a:solidFill>
                  <a:schemeClr val="bg1"/>
                </a:solidFill>
              </a:rPr>
              <a:t>Dashboard</a:t>
            </a:r>
            <a:endParaRPr lang="es-ES" sz="2000" b="1" i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CFB680-CFDD-4DBB-B79C-3AF54507EF27}"/>
              </a:ext>
            </a:extLst>
          </p:cNvPr>
          <p:cNvGrpSpPr/>
          <p:nvPr/>
        </p:nvGrpSpPr>
        <p:grpSpPr>
          <a:xfrm>
            <a:off x="448351" y="3528263"/>
            <a:ext cx="5490108" cy="3070975"/>
            <a:chOff x="5887556" y="3126658"/>
            <a:chExt cx="5490108" cy="307097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D9BC752-1D64-4DA1-8D1A-FD3785F507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86" t="6487" r="-109" b="759"/>
            <a:stretch/>
          </p:blipFill>
          <p:spPr>
            <a:xfrm>
              <a:off x="5902754" y="3317870"/>
              <a:ext cx="5474909" cy="2879763"/>
            </a:xfrm>
            <a:prstGeom prst="rect">
              <a:avLst/>
            </a:prstGeom>
            <a:ln>
              <a:noFill/>
            </a:ln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FD1618-C12D-49CD-B225-68B5CD54BDFA}"/>
                </a:ext>
              </a:extLst>
            </p:cNvPr>
            <p:cNvSpPr/>
            <p:nvPr/>
          </p:nvSpPr>
          <p:spPr>
            <a:xfrm>
              <a:off x="5887556" y="3126658"/>
              <a:ext cx="5490108" cy="191212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cio medio en función del año de construcción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33F58865-3330-42A0-97C6-415A94095A27}"/>
              </a:ext>
            </a:extLst>
          </p:cNvPr>
          <p:cNvSpPr/>
          <p:nvPr/>
        </p:nvSpPr>
        <p:spPr>
          <a:xfrm>
            <a:off x="448351" y="838510"/>
            <a:ext cx="2714080" cy="97554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2,000</a:t>
            </a:r>
          </a:p>
          <a:p>
            <a:pPr algn="ctr"/>
            <a:r>
              <a:rPr lang="es-E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piedades bajo gestió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8CE207-87F1-44E8-8706-BEDBEC3D9FD0}"/>
              </a:ext>
            </a:extLst>
          </p:cNvPr>
          <p:cNvSpPr/>
          <p:nvPr/>
        </p:nvSpPr>
        <p:spPr>
          <a:xfrm>
            <a:off x="3264581" y="831456"/>
            <a:ext cx="2667907" cy="97554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$540 M</a:t>
            </a:r>
          </a:p>
          <a:p>
            <a:pPr algn="ctr"/>
            <a:r>
              <a:rPr lang="es-E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so total del portfolio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A53BEB6-1CE6-4A92-9B49-4635840942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53800" y="243258"/>
            <a:ext cx="509212" cy="550500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0C232038-A25B-4C4C-9C82-0B3E88B29FAA}"/>
              </a:ext>
            </a:extLst>
          </p:cNvPr>
          <p:cNvGrpSpPr/>
          <p:nvPr/>
        </p:nvGrpSpPr>
        <p:grpSpPr>
          <a:xfrm>
            <a:off x="5914145" y="1025079"/>
            <a:ext cx="2593350" cy="1858949"/>
            <a:chOff x="6042003" y="855750"/>
            <a:chExt cx="2470498" cy="1711238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46AE9A2E-A1D4-4A7A-BC2A-D98BD42E5D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8194" b="819"/>
            <a:stretch/>
          </p:blipFill>
          <p:spPr>
            <a:xfrm>
              <a:off x="6046643" y="1163201"/>
              <a:ext cx="2461219" cy="1403787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FE7B704-02A7-4218-A9B4-B862E7324A99}"/>
                </a:ext>
              </a:extLst>
            </p:cNvPr>
            <p:cNvSpPr/>
            <p:nvPr/>
          </p:nvSpPr>
          <p:spPr>
            <a:xfrm>
              <a:off x="6042003" y="855750"/>
              <a:ext cx="2470498" cy="3067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maño de la propiedad en función del año de construcción</a:t>
              </a:r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54ADBF5C-A923-498C-A503-ACFBD870CF8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1332"/>
          <a:stretch/>
        </p:blipFill>
        <p:spPr>
          <a:xfrm>
            <a:off x="444313" y="2039148"/>
            <a:ext cx="5416992" cy="1386628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CE2DC969-3E8C-475F-AE65-E37EA5A376AC}"/>
              </a:ext>
            </a:extLst>
          </p:cNvPr>
          <p:cNvSpPr/>
          <p:nvPr/>
        </p:nvSpPr>
        <p:spPr>
          <a:xfrm>
            <a:off x="444313" y="1864953"/>
            <a:ext cx="5490109" cy="13380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cio medio por año de construcción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9F65382-77EE-42FD-9F94-0DA3414A5DBD}"/>
              </a:ext>
            </a:extLst>
          </p:cNvPr>
          <p:cNvGrpSpPr/>
          <p:nvPr/>
        </p:nvGrpSpPr>
        <p:grpSpPr>
          <a:xfrm>
            <a:off x="5901036" y="2930641"/>
            <a:ext cx="2593350" cy="1465086"/>
            <a:chOff x="9300575" y="5026913"/>
            <a:chExt cx="2470498" cy="1587829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30B65DB2-15A1-4576-A29D-6B4601FF13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7721"/>
            <a:stretch/>
          </p:blipFill>
          <p:spPr>
            <a:xfrm>
              <a:off x="9300575" y="5198309"/>
              <a:ext cx="2470498" cy="1416433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7C26BF6-75BD-4E7F-8301-3BC6A4955B0B}"/>
                </a:ext>
              </a:extLst>
            </p:cNvPr>
            <p:cNvSpPr/>
            <p:nvPr/>
          </p:nvSpPr>
          <p:spPr>
            <a:xfrm>
              <a:off x="9300575" y="5026913"/>
              <a:ext cx="2470498" cy="17139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i="1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º</a:t>
              </a:r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renovaciones por año de construcción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E3C2C57-38EC-4DDA-9B7D-D19E517D1DF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8084" t="4739" r="22205" b="39819"/>
          <a:stretch/>
        </p:blipFill>
        <p:spPr>
          <a:xfrm>
            <a:off x="6184680" y="4587806"/>
            <a:ext cx="2061152" cy="207873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FAC9A26-6F58-44C1-B369-712910BA977C}"/>
              </a:ext>
            </a:extLst>
          </p:cNvPr>
          <p:cNvSpPr/>
          <p:nvPr/>
        </p:nvSpPr>
        <p:spPr>
          <a:xfrm>
            <a:off x="5702618" y="4595706"/>
            <a:ext cx="3025277" cy="3025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pa del precio de las propiedades en función del código postal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D001F08-6394-4654-9BA4-46054DBC3DAC}"/>
              </a:ext>
            </a:extLst>
          </p:cNvPr>
          <p:cNvGrpSpPr/>
          <p:nvPr/>
        </p:nvGrpSpPr>
        <p:grpSpPr>
          <a:xfrm>
            <a:off x="8939375" y="4975619"/>
            <a:ext cx="2559082" cy="1843031"/>
            <a:chOff x="9195011" y="3562494"/>
            <a:chExt cx="2559082" cy="1843031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1E89FE5-78EE-4913-9877-5BFD37FD9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219123" y="3623869"/>
              <a:ext cx="2510858" cy="1781656"/>
            </a:xfrm>
            <a:prstGeom prst="rect">
              <a:avLst/>
            </a:prstGeom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9F3B172-BCFE-4C9D-9959-CC4D97F72645}"/>
                </a:ext>
              </a:extLst>
            </p:cNvPr>
            <p:cNvSpPr/>
            <p:nvPr/>
          </p:nvSpPr>
          <p:spPr>
            <a:xfrm>
              <a:off x="9195011" y="3562494"/>
              <a:ext cx="2559082" cy="19905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stribución de propiedades por </a:t>
              </a:r>
              <a:r>
                <a:rPr lang="es-ES" sz="800" i="1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º</a:t>
              </a:r>
              <a:r>
                <a:rPr lang="es-ES" sz="800" i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e habitaciones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28363F30-2EF1-46AD-9B9E-AD407D8741D2}"/>
              </a:ext>
            </a:extLst>
          </p:cNvPr>
          <p:cNvSpPr/>
          <p:nvPr/>
        </p:nvSpPr>
        <p:spPr>
          <a:xfrm>
            <a:off x="9087482" y="3032470"/>
            <a:ext cx="2593350" cy="1073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tribución por número de plantas</a:t>
            </a:r>
          </a:p>
        </p:txBody>
      </p:sp>
      <p:pic>
        <p:nvPicPr>
          <p:cNvPr id="2054" name="Picture 6" descr="image">
            <a:extLst>
              <a:ext uri="{FF2B5EF4-FFF2-40B4-BE49-F238E27FC236}">
                <a16:creationId xmlns:a16="http://schemas.microsoft.com/office/drawing/2014/main" id="{4C61B715-E467-4E5A-BB86-BDED98228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7" y="1163646"/>
            <a:ext cx="3448071" cy="1788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image">
            <a:extLst>
              <a:ext uri="{FF2B5EF4-FFF2-40B4-BE49-F238E27FC236}">
                <a16:creationId xmlns:a16="http://schemas.microsoft.com/office/drawing/2014/main" id="{1C6BDBC2-D0B4-430F-905A-A0EE34DD3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7" y="3083049"/>
            <a:ext cx="3530000" cy="1852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774A0DF7-BE86-48D6-9F1A-D8672B48AA30}"/>
              </a:ext>
            </a:extLst>
          </p:cNvPr>
          <p:cNvSpPr/>
          <p:nvPr/>
        </p:nvSpPr>
        <p:spPr>
          <a:xfrm>
            <a:off x="9046517" y="1049789"/>
            <a:ext cx="2593350" cy="1073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tribución por número de baños</a:t>
            </a:r>
          </a:p>
        </p:txBody>
      </p:sp>
    </p:spTree>
    <p:extLst>
      <p:ext uri="{BB962C8B-B14F-4D97-AF65-F5344CB8AC3E}">
        <p14:creationId xmlns:p14="http://schemas.microsoft.com/office/powerpoint/2010/main" val="54405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39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389648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76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F8A91F64-1D74-4207-900F-40144A8806E2}"/>
              </a:ext>
            </a:extLst>
          </p:cNvPr>
          <p:cNvSpPr/>
          <p:nvPr/>
        </p:nvSpPr>
        <p:spPr>
          <a:xfrm>
            <a:off x="925033" y="2498651"/>
            <a:ext cx="6788888" cy="3347609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468341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487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Entendimiento del Proyecto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E8A5CF-8847-4140-A8F2-BDD2FD3EE3F5}"/>
              </a:ext>
            </a:extLst>
          </p:cNvPr>
          <p:cNvSpPr/>
          <p:nvPr/>
        </p:nvSpPr>
        <p:spPr>
          <a:xfrm>
            <a:off x="1079337" y="2295900"/>
            <a:ext cx="3223722" cy="3666750"/>
          </a:xfrm>
          <a:prstGeom prst="rect">
            <a:avLst/>
          </a:prstGeom>
          <a:solidFill>
            <a:schemeClr val="bg1">
              <a:lumMod val="95000"/>
              <a:alpha val="59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52000" tIns="252000" rIns="252000" rtlCol="0" anchor="ctr"/>
          <a:lstStyle/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Sector </a:t>
            </a:r>
            <a:r>
              <a:rPr lang="es-ES" sz="1300" b="1">
                <a:solidFill>
                  <a:srgbClr val="2EC5FC"/>
                </a:solidFill>
              </a:rPr>
              <a:t>bienes inmuebles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Área geográfica: </a:t>
            </a:r>
            <a:r>
              <a:rPr lang="es-ES" sz="1300" b="1">
                <a:solidFill>
                  <a:srgbClr val="2EC5FC"/>
                </a:solidFill>
              </a:rPr>
              <a:t>EE.UU.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Portfolio de </a:t>
            </a:r>
            <a:r>
              <a:rPr lang="es-ES" sz="1300" b="1">
                <a:solidFill>
                  <a:srgbClr val="2EC5FC"/>
                </a:solidFill>
              </a:rPr>
              <a:t>+22,000 propiedades </a:t>
            </a:r>
            <a:r>
              <a:rPr lang="es-ES" sz="1300">
                <a:solidFill>
                  <a:schemeClr val="tx1"/>
                </a:solidFill>
              </a:rPr>
              <a:t>bajo gestión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endParaRPr lang="es-ES" sz="1300">
              <a:solidFill>
                <a:schemeClr val="tx1"/>
              </a:solidFill>
            </a:endParaRP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endParaRPr lang="es-ES" sz="13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BB81339-E192-4010-8ECA-9433C3121D6A}"/>
              </a:ext>
            </a:extLst>
          </p:cNvPr>
          <p:cNvSpPr/>
          <p:nvPr/>
        </p:nvSpPr>
        <p:spPr>
          <a:xfrm>
            <a:off x="4438293" y="2295899"/>
            <a:ext cx="3223722" cy="3666750"/>
          </a:xfrm>
          <a:prstGeom prst="rect">
            <a:avLst/>
          </a:prstGeom>
          <a:solidFill>
            <a:schemeClr val="bg1">
              <a:lumMod val="95000"/>
              <a:alpha val="59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52000" tIns="252000" rIns="252000" rtlCol="0" anchor="ctr"/>
          <a:lstStyle/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El </a:t>
            </a:r>
            <a:r>
              <a:rPr lang="es-ES" sz="1300" b="1">
                <a:solidFill>
                  <a:srgbClr val="2EC5FC"/>
                </a:solidFill>
              </a:rPr>
              <a:t>objetivo principal </a:t>
            </a:r>
            <a:r>
              <a:rPr lang="es-ES" sz="1300">
                <a:solidFill>
                  <a:schemeClr val="tx1"/>
                </a:solidFill>
              </a:rPr>
              <a:t>del proyecto es </a:t>
            </a:r>
            <a:r>
              <a:rPr lang="es-ES" sz="1300" b="1">
                <a:solidFill>
                  <a:srgbClr val="2EC5FC"/>
                </a:solidFill>
              </a:rPr>
              <a:t>familiarizarse </a:t>
            </a:r>
            <a:r>
              <a:rPr lang="es-ES" sz="1300">
                <a:solidFill>
                  <a:schemeClr val="tx1"/>
                </a:solidFill>
              </a:rPr>
              <a:t>con el uso de </a:t>
            </a:r>
            <a:r>
              <a:rPr lang="es-ES" sz="1300" b="1">
                <a:solidFill>
                  <a:srgbClr val="2EC5FC"/>
                </a:solidFill>
              </a:rPr>
              <a:t>distintas herramientas </a:t>
            </a:r>
            <a:r>
              <a:rPr lang="es-ES" sz="1300">
                <a:solidFill>
                  <a:schemeClr val="tx1"/>
                </a:solidFill>
              </a:rPr>
              <a:t>para el tratado de datos: </a:t>
            </a:r>
            <a:r>
              <a:rPr lang="es-ES" sz="1300" b="1">
                <a:solidFill>
                  <a:srgbClr val="2EC5FC"/>
                </a:solidFill>
              </a:rPr>
              <a:t>SQL</a:t>
            </a:r>
            <a:r>
              <a:rPr lang="es-ES" sz="1300">
                <a:solidFill>
                  <a:schemeClr val="tx1"/>
                </a:solidFill>
              </a:rPr>
              <a:t>, </a:t>
            </a:r>
            <a:r>
              <a:rPr lang="es-ES" sz="1300" b="1" err="1">
                <a:solidFill>
                  <a:srgbClr val="2EC5FC"/>
                </a:solidFill>
              </a:rPr>
              <a:t>PowerBI</a:t>
            </a:r>
            <a:r>
              <a:rPr lang="es-ES" sz="1300" b="1">
                <a:solidFill>
                  <a:srgbClr val="2EC5FC"/>
                </a:solidFill>
              </a:rPr>
              <a:t> </a:t>
            </a:r>
            <a:r>
              <a:rPr lang="es-ES" sz="1300">
                <a:solidFill>
                  <a:schemeClr val="tx1"/>
                </a:solidFill>
              </a:rPr>
              <a:t>y </a:t>
            </a:r>
            <a:r>
              <a:rPr lang="es-ES" sz="1300" b="1">
                <a:solidFill>
                  <a:srgbClr val="2EC5FC"/>
                </a:solidFill>
              </a:rPr>
              <a:t>Python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Los </a:t>
            </a:r>
            <a:r>
              <a:rPr lang="es-ES" sz="1300" b="1">
                <a:solidFill>
                  <a:srgbClr val="2EC5FC"/>
                </a:solidFill>
              </a:rPr>
              <a:t>objetivos específicos </a:t>
            </a:r>
            <a:r>
              <a:rPr lang="es-ES" sz="1300">
                <a:solidFill>
                  <a:schemeClr val="tx1"/>
                </a:solidFill>
              </a:rPr>
              <a:t>del proyecto incluyen:</a:t>
            </a:r>
          </a:p>
          <a:p>
            <a:pPr marL="742950" lvl="1" indent="-285750">
              <a:spcAft>
                <a:spcPts val="1200"/>
              </a:spcAft>
              <a:buClr>
                <a:srgbClr val="2EC5FC"/>
              </a:buClr>
              <a:buSzPct val="70000"/>
              <a:buFont typeface="Wingdings" panose="05000000000000000000" pitchFamily="2" charset="2"/>
              <a:buChar char="§"/>
            </a:pPr>
            <a:r>
              <a:rPr lang="es-ES" sz="1300">
                <a:solidFill>
                  <a:schemeClr val="tx1"/>
                </a:solidFill>
              </a:rPr>
              <a:t>El </a:t>
            </a:r>
            <a:r>
              <a:rPr lang="es-ES" sz="1300" b="1">
                <a:solidFill>
                  <a:srgbClr val="2EC5FC"/>
                </a:solidFill>
              </a:rPr>
              <a:t>desarrollo de un algoritmo </a:t>
            </a:r>
            <a:r>
              <a:rPr lang="es-ES" sz="1300">
                <a:solidFill>
                  <a:schemeClr val="tx1"/>
                </a:solidFill>
              </a:rPr>
              <a:t>capaz de </a:t>
            </a:r>
            <a:r>
              <a:rPr lang="es-ES" sz="1300" b="1">
                <a:solidFill>
                  <a:srgbClr val="2EC5FC"/>
                </a:solidFill>
              </a:rPr>
              <a:t>determinar </a:t>
            </a:r>
            <a:r>
              <a:rPr lang="es-ES" sz="1300">
                <a:solidFill>
                  <a:schemeClr val="tx1"/>
                </a:solidFill>
              </a:rPr>
              <a:t>el </a:t>
            </a:r>
            <a:r>
              <a:rPr lang="es-ES" sz="1300" b="1">
                <a:solidFill>
                  <a:srgbClr val="2EC5FC"/>
                </a:solidFill>
              </a:rPr>
              <a:t>precio </a:t>
            </a:r>
            <a:r>
              <a:rPr lang="es-ES" sz="1300">
                <a:solidFill>
                  <a:schemeClr val="tx1"/>
                </a:solidFill>
              </a:rPr>
              <a:t>de una </a:t>
            </a:r>
            <a:r>
              <a:rPr lang="es-ES" sz="1300" b="1">
                <a:solidFill>
                  <a:srgbClr val="2EC5FC"/>
                </a:solidFill>
              </a:rPr>
              <a:t>propiedad </a:t>
            </a:r>
            <a:r>
              <a:rPr lang="es-ES" sz="1300">
                <a:solidFill>
                  <a:schemeClr val="tx1"/>
                </a:solidFill>
              </a:rPr>
              <a:t>en función de </a:t>
            </a:r>
            <a:r>
              <a:rPr lang="es-ES" sz="1300" b="1">
                <a:solidFill>
                  <a:srgbClr val="2EC5FC"/>
                </a:solidFill>
              </a:rPr>
              <a:t>distintas variables</a:t>
            </a:r>
          </a:p>
          <a:p>
            <a:pPr marL="742950" lvl="1" indent="-285750">
              <a:spcAft>
                <a:spcPts val="1200"/>
              </a:spcAft>
              <a:buClr>
                <a:srgbClr val="2EC5FC"/>
              </a:buClr>
              <a:buSzPct val="70000"/>
              <a:buFont typeface="Wingdings" panose="05000000000000000000" pitchFamily="2" charset="2"/>
              <a:buChar char="§"/>
            </a:pPr>
            <a:r>
              <a:rPr lang="es-ES" sz="1300">
                <a:solidFill>
                  <a:schemeClr val="tx1"/>
                </a:solidFill>
              </a:rPr>
              <a:t>Y su posterior </a:t>
            </a:r>
            <a:r>
              <a:rPr lang="es-ES" sz="1300" b="1">
                <a:solidFill>
                  <a:srgbClr val="2EC5FC"/>
                </a:solidFill>
              </a:rPr>
              <a:t>presentación en un </a:t>
            </a:r>
            <a:r>
              <a:rPr lang="es-ES" sz="1300" b="1" i="1" err="1">
                <a:solidFill>
                  <a:srgbClr val="2EC5FC"/>
                </a:solidFill>
              </a:rPr>
              <a:t>dashboard</a:t>
            </a:r>
            <a:r>
              <a:rPr lang="es-ES" sz="1300" b="1" i="1">
                <a:solidFill>
                  <a:srgbClr val="2EC5FC"/>
                </a:solidFill>
              </a:rPr>
              <a:t> 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30AF37-C04D-4EE4-BAAD-F767CCE3694A}"/>
              </a:ext>
            </a:extLst>
          </p:cNvPr>
          <p:cNvSpPr/>
          <p:nvPr/>
        </p:nvSpPr>
        <p:spPr>
          <a:xfrm>
            <a:off x="7797248" y="2295898"/>
            <a:ext cx="3223722" cy="3666750"/>
          </a:xfrm>
          <a:prstGeom prst="rect">
            <a:avLst/>
          </a:prstGeom>
          <a:solidFill>
            <a:schemeClr val="bg1">
              <a:lumMod val="95000"/>
              <a:alpha val="59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52000" tIns="252000" rIns="252000" rtlCol="0" anchor="ctr"/>
          <a:lstStyle/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 b="1">
                <a:solidFill>
                  <a:srgbClr val="2EC5FC"/>
                </a:solidFill>
              </a:rPr>
              <a:t>Depuración</a:t>
            </a:r>
            <a:r>
              <a:rPr lang="es-ES" sz="1300">
                <a:solidFill>
                  <a:schemeClr val="tx1"/>
                </a:solidFill>
              </a:rPr>
              <a:t> y </a:t>
            </a:r>
            <a:r>
              <a:rPr lang="es-ES" sz="1300" b="1">
                <a:solidFill>
                  <a:srgbClr val="2EC5FC"/>
                </a:solidFill>
              </a:rPr>
              <a:t>procesado de datos </a:t>
            </a:r>
            <a:r>
              <a:rPr lang="es-ES" sz="1300">
                <a:solidFill>
                  <a:schemeClr val="tx1"/>
                </a:solidFill>
              </a:rPr>
              <a:t>mediante </a:t>
            </a:r>
            <a:r>
              <a:rPr lang="es-ES" sz="1300" b="1">
                <a:solidFill>
                  <a:srgbClr val="2EC5FC"/>
                </a:solidFill>
              </a:rPr>
              <a:t>SQL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>
                <a:solidFill>
                  <a:schemeClr val="tx1"/>
                </a:solidFill>
              </a:rPr>
              <a:t>Creación de un </a:t>
            </a:r>
            <a:r>
              <a:rPr lang="es-ES" sz="1300" b="1">
                <a:solidFill>
                  <a:srgbClr val="2EC5FC"/>
                </a:solidFill>
              </a:rPr>
              <a:t>modelo para predecir el precio de las propiedades </a:t>
            </a:r>
            <a:r>
              <a:rPr lang="es-ES" sz="1300">
                <a:solidFill>
                  <a:schemeClr val="tx1"/>
                </a:solidFill>
              </a:rPr>
              <a:t>en función de </a:t>
            </a:r>
            <a:r>
              <a:rPr lang="es-ES" sz="1300" b="1">
                <a:solidFill>
                  <a:srgbClr val="2EC5FC"/>
                </a:solidFill>
              </a:rPr>
              <a:t>distintas variables </a:t>
            </a:r>
            <a:r>
              <a:rPr lang="es-ES" sz="1300">
                <a:solidFill>
                  <a:schemeClr val="tx1"/>
                </a:solidFill>
              </a:rPr>
              <a:t>– mediante </a:t>
            </a:r>
            <a:r>
              <a:rPr lang="es-ES" sz="1300" b="1">
                <a:solidFill>
                  <a:srgbClr val="2EC5FC"/>
                </a:solidFill>
              </a:rPr>
              <a:t>Python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 b="1">
                <a:solidFill>
                  <a:srgbClr val="2EC5FC"/>
                </a:solidFill>
              </a:rPr>
              <a:t>Visualización gráfica </a:t>
            </a:r>
            <a:r>
              <a:rPr lang="es-ES" sz="1300">
                <a:solidFill>
                  <a:schemeClr val="tx1"/>
                </a:solidFill>
              </a:rPr>
              <a:t>de la información mediante </a:t>
            </a:r>
            <a:r>
              <a:rPr lang="es-ES" sz="1300" b="1">
                <a:solidFill>
                  <a:srgbClr val="2EC5FC"/>
                </a:solidFill>
              </a:rPr>
              <a:t>PowerBI</a:t>
            </a: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300" b="1">
                <a:solidFill>
                  <a:srgbClr val="2EC5FC"/>
                </a:solidFill>
              </a:rPr>
              <a:t>Obtención de resultados </a:t>
            </a:r>
            <a:r>
              <a:rPr lang="es-ES" sz="1300">
                <a:solidFill>
                  <a:schemeClr val="tx1"/>
                </a:solidFill>
              </a:rPr>
              <a:t>y presentación en un </a:t>
            </a:r>
            <a:r>
              <a:rPr lang="es-ES" sz="1300" b="1" i="1" err="1">
                <a:solidFill>
                  <a:srgbClr val="2EC5FC"/>
                </a:solidFill>
              </a:rPr>
              <a:t>dashboard</a:t>
            </a:r>
            <a:endParaRPr lang="es-ES" sz="1300" b="1" i="1">
              <a:solidFill>
                <a:srgbClr val="2EC5FC"/>
              </a:solidFill>
            </a:endParaRPr>
          </a:p>
          <a:p>
            <a:pPr marL="285750" indent="-285750">
              <a:spcAft>
                <a:spcPts val="1200"/>
              </a:spcAft>
              <a:buClr>
                <a:srgbClr val="2EC5FC"/>
              </a:buClr>
              <a:buSzPct val="70000"/>
              <a:buFont typeface="Arial" panose="020B0604020202020204" pitchFamily="34" charset="0"/>
              <a:buChar char="►"/>
            </a:pPr>
            <a:endParaRPr lang="es-ES" sz="1300">
              <a:solidFill>
                <a:schemeClr val="tx1"/>
              </a:solidFill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CD067F6C-BEAF-401E-B70E-8BD8CF002D86}"/>
              </a:ext>
            </a:extLst>
          </p:cNvPr>
          <p:cNvSpPr/>
          <p:nvPr/>
        </p:nvSpPr>
        <p:spPr>
          <a:xfrm>
            <a:off x="1079338" y="1373621"/>
            <a:ext cx="3358957" cy="922278"/>
          </a:xfrm>
          <a:prstGeom prst="homePlate">
            <a:avLst>
              <a:gd name="adj" fmla="val 14399"/>
            </a:avLst>
          </a:prstGeom>
          <a:solidFill>
            <a:srgbClr val="2EC5FC">
              <a:alpha val="30000"/>
            </a:srgbClr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 anchorCtr="0"/>
          <a:lstStyle/>
          <a:p>
            <a:pPr algn="ctr"/>
            <a:r>
              <a:rPr lang="es-ES" sz="1600" b="1">
                <a:solidFill>
                  <a:schemeClr val="tx1"/>
                </a:solidFill>
              </a:rPr>
              <a:t>Contexto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CA4CBBC7-29BB-4E53-8A86-7B76F5624550}"/>
              </a:ext>
            </a:extLst>
          </p:cNvPr>
          <p:cNvSpPr/>
          <p:nvPr/>
        </p:nvSpPr>
        <p:spPr>
          <a:xfrm>
            <a:off x="4438295" y="1373621"/>
            <a:ext cx="3358956" cy="922278"/>
          </a:xfrm>
          <a:prstGeom prst="chevron">
            <a:avLst>
              <a:gd name="adj" fmla="val 14275"/>
            </a:avLst>
          </a:prstGeom>
          <a:solidFill>
            <a:srgbClr val="2EC5FC">
              <a:alpha val="30000"/>
            </a:srgbClr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 anchorCtr="0"/>
          <a:lstStyle/>
          <a:p>
            <a:pPr algn="ctr"/>
            <a:r>
              <a:rPr lang="es-ES" sz="1600" b="1">
                <a:solidFill>
                  <a:schemeClr val="tx1"/>
                </a:solidFill>
              </a:rPr>
              <a:t>Objetivos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A11E05B8-C5AE-43F5-AAB0-991ECCAF3E25}"/>
              </a:ext>
            </a:extLst>
          </p:cNvPr>
          <p:cNvSpPr/>
          <p:nvPr/>
        </p:nvSpPr>
        <p:spPr>
          <a:xfrm>
            <a:off x="7797250" y="1373621"/>
            <a:ext cx="3358955" cy="922278"/>
          </a:xfrm>
          <a:prstGeom prst="chevron">
            <a:avLst>
              <a:gd name="adj" fmla="val 14275"/>
            </a:avLst>
          </a:prstGeom>
          <a:solidFill>
            <a:srgbClr val="2EC5FC">
              <a:alpha val="30000"/>
            </a:srgbClr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 anchorCtr="0"/>
          <a:lstStyle/>
          <a:p>
            <a:pPr algn="ctr"/>
            <a:r>
              <a:rPr lang="es-ES" sz="1600" b="1">
                <a:solidFill>
                  <a:schemeClr val="tx1"/>
                </a:solidFill>
              </a:rPr>
              <a:t>Metodología</a:t>
            </a:r>
          </a:p>
        </p:txBody>
      </p:sp>
      <p:pic>
        <p:nvPicPr>
          <p:cNvPr id="12" name="Graphic 11" descr="Teacher outline">
            <a:extLst>
              <a:ext uri="{FF2B5EF4-FFF2-40B4-BE49-F238E27FC236}">
                <a16:creationId xmlns:a16="http://schemas.microsoft.com/office/drawing/2014/main" id="{B915E89A-AC5C-4158-8817-BA2F370BDA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37447" y="1520060"/>
            <a:ext cx="629399" cy="629399"/>
          </a:xfrm>
          <a:prstGeom prst="rect">
            <a:avLst/>
          </a:prstGeom>
        </p:spPr>
      </p:pic>
      <p:pic>
        <p:nvPicPr>
          <p:cNvPr id="21" name="Graphic 20" descr="Bullseye outline">
            <a:extLst>
              <a:ext uri="{FF2B5EF4-FFF2-40B4-BE49-F238E27FC236}">
                <a16:creationId xmlns:a16="http://schemas.microsoft.com/office/drawing/2014/main" id="{7A1756A5-EDDE-4F18-8B90-62875F82E1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44252" y="1520060"/>
            <a:ext cx="629399" cy="629399"/>
          </a:xfrm>
          <a:prstGeom prst="rect">
            <a:avLst/>
          </a:prstGeom>
        </p:spPr>
      </p:pic>
      <p:pic>
        <p:nvPicPr>
          <p:cNvPr id="23" name="Graphic 22" descr="Brainstorm outline">
            <a:extLst>
              <a:ext uri="{FF2B5EF4-FFF2-40B4-BE49-F238E27FC236}">
                <a16:creationId xmlns:a16="http://schemas.microsoft.com/office/drawing/2014/main" id="{2915D073-2B1C-46E9-8C9E-F3973FD30CC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182154" y="1520059"/>
            <a:ext cx="629399" cy="629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928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8258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F8A91F64-1D74-4207-900F-40144A8806E2}"/>
              </a:ext>
            </a:extLst>
          </p:cNvPr>
          <p:cNvSpPr/>
          <p:nvPr/>
        </p:nvSpPr>
        <p:spPr>
          <a:xfrm>
            <a:off x="925033" y="3234471"/>
            <a:ext cx="6788888" cy="2712079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C4F5AF56-3DE5-4C9A-96E5-C2F9E58BD3CB}"/>
              </a:ext>
            </a:extLst>
          </p:cNvPr>
          <p:cNvSpPr/>
          <p:nvPr/>
        </p:nvSpPr>
        <p:spPr>
          <a:xfrm>
            <a:off x="1272447" y="1604625"/>
            <a:ext cx="6788888" cy="882416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965789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3989180-D387-4BE7-99E7-0CC159E82EB6}"/>
              </a:ext>
            </a:extLst>
          </p:cNvPr>
          <p:cNvSpPr/>
          <p:nvPr/>
        </p:nvSpPr>
        <p:spPr>
          <a:xfrm>
            <a:off x="652957" y="1057275"/>
            <a:ext cx="10886087" cy="914497"/>
          </a:xfrm>
          <a:prstGeom prst="rect">
            <a:avLst/>
          </a:prstGeom>
          <a:solidFill>
            <a:srgbClr val="E5F8FF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3900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Depuración y Procesado de dato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D52A115-5C0A-4AB5-9D40-39BF3F2825AE}"/>
              </a:ext>
            </a:extLst>
          </p:cNvPr>
          <p:cNvCxnSpPr>
            <a:cxnSpLocks/>
          </p:cNvCxnSpPr>
          <p:nvPr/>
        </p:nvCxnSpPr>
        <p:spPr>
          <a:xfrm flipH="1">
            <a:off x="6078925" y="2182539"/>
            <a:ext cx="17076" cy="412152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24F763F-3237-42BA-80D8-26784484720F}"/>
              </a:ext>
            </a:extLst>
          </p:cNvPr>
          <p:cNvSpPr/>
          <p:nvPr/>
        </p:nvSpPr>
        <p:spPr>
          <a:xfrm>
            <a:off x="1177827" y="3808972"/>
            <a:ext cx="4253214" cy="222391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0B2473-6640-4DD5-924E-C247CA06DAA6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48719" y="3953796"/>
            <a:ext cx="3711431" cy="65495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5DC9C33-8329-47F4-B827-5EF2F22CDB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53984" y="4656674"/>
            <a:ext cx="3900901" cy="128360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F91E8DD-A785-4240-86AC-A9290144B2D2}"/>
              </a:ext>
            </a:extLst>
          </p:cNvPr>
          <p:cNvSpPr/>
          <p:nvPr/>
        </p:nvSpPr>
        <p:spPr>
          <a:xfrm>
            <a:off x="6760960" y="3808972"/>
            <a:ext cx="4253214" cy="222391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BAC884-70FE-420C-8753-C6125B2112C1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96406" y="4019739"/>
            <a:ext cx="3982322" cy="52307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420DEB-DC77-456A-896B-C9AA7DAD434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25628" y="4753578"/>
            <a:ext cx="1323879" cy="114197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19EE34-6717-4179-93E1-170AB28DFDD1}"/>
              </a:ext>
            </a:extLst>
          </p:cNvPr>
          <p:cNvSpPr/>
          <p:nvPr/>
        </p:nvSpPr>
        <p:spPr>
          <a:xfrm>
            <a:off x="652957" y="1158766"/>
            <a:ext cx="10886087" cy="7094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>
                <a:solidFill>
                  <a:schemeClr val="tx1"/>
                </a:solidFill>
              </a:rPr>
              <a:t>Mediante </a:t>
            </a:r>
            <a:r>
              <a:rPr lang="es-ES" sz="1400" b="1" i="1" err="1">
                <a:solidFill>
                  <a:srgbClr val="2EC5FC"/>
                </a:solidFill>
              </a:rPr>
              <a:t>queries</a:t>
            </a:r>
            <a:r>
              <a:rPr lang="es-ES" sz="1400" b="1">
                <a:solidFill>
                  <a:srgbClr val="2EC5FC"/>
                </a:solidFill>
              </a:rPr>
              <a:t> de SQL </a:t>
            </a:r>
            <a:r>
              <a:rPr lang="es-ES" sz="1400">
                <a:solidFill>
                  <a:schemeClr val="tx1"/>
                </a:solidFill>
              </a:rPr>
              <a:t>hemos podido </a:t>
            </a:r>
            <a:r>
              <a:rPr lang="es-ES" sz="1400" b="1">
                <a:solidFill>
                  <a:srgbClr val="2EC5FC"/>
                </a:solidFill>
              </a:rPr>
              <a:t>entender e identificar los datos </a:t>
            </a:r>
            <a:r>
              <a:rPr lang="es-ES" sz="1400">
                <a:solidFill>
                  <a:schemeClr val="tx1"/>
                </a:solidFill>
              </a:rPr>
              <a:t>desde un inicio, para poder </a:t>
            </a:r>
            <a:r>
              <a:rPr lang="es-ES" sz="1400" b="1">
                <a:solidFill>
                  <a:srgbClr val="2EC5FC"/>
                </a:solidFill>
              </a:rPr>
              <a:t>proceder con su tratamiento y modelado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0A37E11-EA52-4A73-8BB0-030B86E1CBB9}"/>
              </a:ext>
            </a:extLst>
          </p:cNvPr>
          <p:cNvSpPr/>
          <p:nvPr/>
        </p:nvSpPr>
        <p:spPr>
          <a:xfrm>
            <a:off x="743196" y="2611100"/>
            <a:ext cx="5122477" cy="7094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>
                <a:solidFill>
                  <a:schemeClr val="tx1"/>
                </a:solidFill>
              </a:rPr>
              <a:t>Mediante la siguiente </a:t>
            </a:r>
            <a:r>
              <a:rPr lang="es-ES" sz="1400" i="1" err="1">
                <a:solidFill>
                  <a:schemeClr val="tx1"/>
                </a:solidFill>
              </a:rPr>
              <a:t>query</a:t>
            </a:r>
            <a:r>
              <a:rPr lang="es-ES" sz="1400" i="1">
                <a:solidFill>
                  <a:schemeClr val="tx1"/>
                </a:solidFill>
              </a:rPr>
              <a:t> </a:t>
            </a:r>
            <a:r>
              <a:rPr lang="es-ES" sz="1400">
                <a:solidFill>
                  <a:schemeClr val="tx1"/>
                </a:solidFill>
              </a:rPr>
              <a:t>obtuvimos un </a:t>
            </a:r>
            <a:r>
              <a:rPr lang="es-ES" sz="1400" b="1">
                <a:solidFill>
                  <a:srgbClr val="2EC5FC"/>
                </a:solidFill>
              </a:rPr>
              <a:t>listado de propiedades</a:t>
            </a:r>
            <a:r>
              <a:rPr lang="es-ES" sz="1400">
                <a:solidFill>
                  <a:schemeClr val="tx1"/>
                </a:solidFill>
              </a:rPr>
              <a:t>, </a:t>
            </a:r>
            <a:r>
              <a:rPr lang="es-ES" sz="1400" b="1">
                <a:solidFill>
                  <a:srgbClr val="2EC5FC"/>
                </a:solidFill>
              </a:rPr>
              <a:t>cuyo precio duplica el precio promedio </a:t>
            </a:r>
            <a:r>
              <a:rPr lang="es-ES" sz="1400">
                <a:solidFill>
                  <a:schemeClr val="tx1"/>
                </a:solidFill>
              </a:rPr>
              <a:t>de todas las propiedades del portfolio</a:t>
            </a:r>
            <a:endParaRPr lang="es-ES" sz="1400" b="1" i="1">
              <a:solidFill>
                <a:srgbClr val="2EC5FC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4E7359D-1342-4BE7-A798-34B00BCF23FB}"/>
              </a:ext>
            </a:extLst>
          </p:cNvPr>
          <p:cNvSpPr/>
          <p:nvPr/>
        </p:nvSpPr>
        <p:spPr>
          <a:xfrm>
            <a:off x="6326329" y="2611100"/>
            <a:ext cx="5122477" cy="7094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>
                <a:solidFill>
                  <a:schemeClr val="tx1"/>
                </a:solidFill>
              </a:rPr>
              <a:t>Mediante la siguiente </a:t>
            </a:r>
            <a:r>
              <a:rPr lang="es-ES" sz="1400" i="1" err="1">
                <a:solidFill>
                  <a:schemeClr val="tx1"/>
                </a:solidFill>
              </a:rPr>
              <a:t>query</a:t>
            </a:r>
            <a:r>
              <a:rPr lang="es-ES" sz="1400" i="1">
                <a:solidFill>
                  <a:schemeClr val="tx1"/>
                </a:solidFill>
              </a:rPr>
              <a:t> </a:t>
            </a:r>
            <a:r>
              <a:rPr lang="es-ES" sz="1400">
                <a:solidFill>
                  <a:schemeClr val="tx1"/>
                </a:solidFill>
              </a:rPr>
              <a:t>obtuvimos el </a:t>
            </a:r>
            <a:r>
              <a:rPr lang="es-ES" sz="1400" b="1">
                <a:solidFill>
                  <a:srgbClr val="2EC5FC"/>
                </a:solidFill>
              </a:rPr>
              <a:t>precio medio de las propiedades del portfolio</a:t>
            </a:r>
            <a:r>
              <a:rPr lang="es-ES" sz="1400">
                <a:solidFill>
                  <a:schemeClr val="tx1"/>
                </a:solidFill>
              </a:rPr>
              <a:t>, </a:t>
            </a:r>
            <a:r>
              <a:rPr lang="es-ES" sz="1400" b="1">
                <a:solidFill>
                  <a:srgbClr val="2EC5FC"/>
                </a:solidFill>
              </a:rPr>
              <a:t>en función de la condición </a:t>
            </a:r>
            <a:r>
              <a:rPr lang="es-ES" sz="1400">
                <a:solidFill>
                  <a:schemeClr val="tx1"/>
                </a:solidFill>
              </a:rPr>
              <a:t>en la que se encuentran</a:t>
            </a:r>
            <a:endParaRPr lang="es-ES" sz="1400" b="1" i="1">
              <a:solidFill>
                <a:srgbClr val="2EC5F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843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Índic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F9625A9-3881-40EF-9963-87439A3E152D}"/>
              </a:ext>
            </a:extLst>
          </p:cNvPr>
          <p:cNvSpPr/>
          <p:nvPr/>
        </p:nvSpPr>
        <p:spPr>
          <a:xfrm>
            <a:off x="1358153" y="1728121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Entendimiento del Proyect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B0ED3C1-CE79-4BA7-901A-8FCA9F5CF627}"/>
              </a:ext>
            </a:extLst>
          </p:cNvPr>
          <p:cNvSpPr/>
          <p:nvPr/>
        </p:nvSpPr>
        <p:spPr>
          <a:xfrm>
            <a:off x="1358153" y="2560562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Depuración y Procesado de dato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1ECF1AE-AD9F-490F-A87F-41E553B2D773}"/>
              </a:ext>
            </a:extLst>
          </p:cNvPr>
          <p:cNvSpPr/>
          <p:nvPr/>
        </p:nvSpPr>
        <p:spPr>
          <a:xfrm>
            <a:off x="1358153" y="3393003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Creación del Model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06FDDC-3AFE-46BB-A11E-D5052C877A2C}"/>
              </a:ext>
            </a:extLst>
          </p:cNvPr>
          <p:cNvSpPr/>
          <p:nvPr/>
        </p:nvSpPr>
        <p:spPr>
          <a:xfrm>
            <a:off x="1358153" y="4225444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 i="1"/>
              <a:t>Obtención de Resultado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3498ED1-1AF4-44F8-9B31-57A988170717}"/>
              </a:ext>
            </a:extLst>
          </p:cNvPr>
          <p:cNvSpPr/>
          <p:nvPr/>
        </p:nvSpPr>
        <p:spPr>
          <a:xfrm>
            <a:off x="1688482" y="1716509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18831C7-EAF4-4F7F-A0A3-6F11C779C467}"/>
              </a:ext>
            </a:extLst>
          </p:cNvPr>
          <p:cNvSpPr/>
          <p:nvPr/>
        </p:nvSpPr>
        <p:spPr>
          <a:xfrm>
            <a:off x="1688482" y="2548950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D23D77A-C2C4-4908-BF83-C34AF3DF6629}"/>
              </a:ext>
            </a:extLst>
          </p:cNvPr>
          <p:cNvSpPr/>
          <p:nvPr/>
        </p:nvSpPr>
        <p:spPr>
          <a:xfrm>
            <a:off x="1688482" y="3381391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63EC59-A97D-48AB-95CA-489B05B19A6C}"/>
              </a:ext>
            </a:extLst>
          </p:cNvPr>
          <p:cNvSpPr/>
          <p:nvPr/>
        </p:nvSpPr>
        <p:spPr>
          <a:xfrm>
            <a:off x="1688482" y="4213832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3F2BC44-DC60-40F0-B9CC-158F91A88998}"/>
              </a:ext>
            </a:extLst>
          </p:cNvPr>
          <p:cNvSpPr/>
          <p:nvPr/>
        </p:nvSpPr>
        <p:spPr>
          <a:xfrm>
            <a:off x="1358153" y="5057885"/>
            <a:ext cx="5748376" cy="588777"/>
          </a:xfrm>
          <a:prstGeom prst="roundRect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52000" rtlCol="0" anchor="ctr"/>
          <a:lstStyle/>
          <a:p>
            <a:r>
              <a:rPr lang="es-ES" b="1"/>
              <a:t>Visualización en </a:t>
            </a:r>
            <a:r>
              <a:rPr lang="es-ES" b="1" i="1" err="1"/>
              <a:t>Dashboard</a:t>
            </a:r>
            <a:endParaRPr lang="es-ES" b="1" i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9242B69-1198-4D48-9F56-29D195B89A0E}"/>
              </a:ext>
            </a:extLst>
          </p:cNvPr>
          <p:cNvSpPr/>
          <p:nvPr/>
        </p:nvSpPr>
        <p:spPr>
          <a:xfrm>
            <a:off x="1688482" y="5046273"/>
            <a:ext cx="711815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2400" b="1" i="1">
                <a:solidFill>
                  <a:srgbClr val="2EC5FC"/>
                </a:solidFill>
              </a:rPr>
              <a:t>4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F8A91F64-1D74-4207-900F-40144A8806E2}"/>
              </a:ext>
            </a:extLst>
          </p:cNvPr>
          <p:cNvSpPr/>
          <p:nvPr/>
        </p:nvSpPr>
        <p:spPr>
          <a:xfrm>
            <a:off x="966328" y="4063111"/>
            <a:ext cx="6788888" cy="2514669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C4F5AF56-3DE5-4C9A-96E5-C2F9E58BD3CB}"/>
              </a:ext>
            </a:extLst>
          </p:cNvPr>
          <p:cNvSpPr/>
          <p:nvPr/>
        </p:nvSpPr>
        <p:spPr>
          <a:xfrm>
            <a:off x="1272447" y="1604625"/>
            <a:ext cx="6788888" cy="1629846"/>
          </a:xfrm>
          <a:prstGeom prst="flowChartAlternateProcess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C82C2D-E41F-49E2-8007-44644A91969C}"/>
              </a:ext>
            </a:extLst>
          </p:cNvPr>
          <p:cNvSpPr/>
          <p:nvPr/>
        </p:nvSpPr>
        <p:spPr>
          <a:xfrm>
            <a:off x="5690322" y="1126492"/>
            <a:ext cx="6082497" cy="512179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EC3490-CAB4-4915-A5ED-1A0570DC5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7453" y="1343982"/>
            <a:ext cx="5190538" cy="46868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724165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222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Creación del Modelo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0E32AB-2513-44B8-A6A8-2251E4BEA658}"/>
              </a:ext>
            </a:extLst>
          </p:cNvPr>
          <p:cNvSpPr/>
          <p:nvPr/>
        </p:nvSpPr>
        <p:spPr>
          <a:xfrm>
            <a:off x="512867" y="1018433"/>
            <a:ext cx="11166266" cy="17660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306C463-52CE-460F-ABCF-131FD57A3D4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" b="-2226"/>
          <a:stretch/>
        </p:blipFill>
        <p:spPr>
          <a:xfrm>
            <a:off x="664431" y="1186730"/>
            <a:ext cx="5548240" cy="1429468"/>
          </a:xfrm>
          <a:prstGeom prst="rect">
            <a:avLst/>
          </a:prstGeom>
        </p:spPr>
      </p:pic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34C4E708-C099-4A03-BD6D-DFBE19D563FF}"/>
              </a:ext>
            </a:extLst>
          </p:cNvPr>
          <p:cNvSpPr/>
          <p:nvPr/>
        </p:nvSpPr>
        <p:spPr>
          <a:xfrm rot="5400000">
            <a:off x="6014755" y="1806060"/>
            <a:ext cx="1011198" cy="190808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53343D-BB8C-4168-B7F3-40E63E30CC81}"/>
              </a:ext>
            </a:extLst>
          </p:cNvPr>
          <p:cNvSpPr/>
          <p:nvPr/>
        </p:nvSpPr>
        <p:spPr>
          <a:xfrm>
            <a:off x="6790157" y="1650741"/>
            <a:ext cx="3551412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200">
                <a:solidFill>
                  <a:schemeClr val="tx1"/>
                </a:solidFill>
              </a:rPr>
              <a:t>Convertimos el </a:t>
            </a:r>
            <a:r>
              <a:rPr lang="es-ES" sz="1200" b="1" err="1">
                <a:solidFill>
                  <a:srgbClr val="2EC5FC"/>
                </a:solidFill>
              </a:rPr>
              <a:t>zipcode</a:t>
            </a:r>
            <a:r>
              <a:rPr lang="es-ES" sz="1200">
                <a:solidFill>
                  <a:schemeClr val="tx1"/>
                </a:solidFill>
              </a:rPr>
              <a:t> en una </a:t>
            </a:r>
            <a:r>
              <a:rPr lang="es-ES" sz="1200" b="1">
                <a:solidFill>
                  <a:srgbClr val="2EC5FC"/>
                </a:solidFill>
              </a:rPr>
              <a:t>variable categóric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BE04B33-899E-4898-814D-FB0C7076233C}"/>
              </a:ext>
            </a:extLst>
          </p:cNvPr>
          <p:cNvSpPr/>
          <p:nvPr/>
        </p:nvSpPr>
        <p:spPr>
          <a:xfrm>
            <a:off x="512867" y="2952792"/>
            <a:ext cx="11166266" cy="15145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942974F0-4F27-47D9-A735-38DFE3569E9A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7699" y="3104698"/>
            <a:ext cx="10896600" cy="55245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CD226D3-6AF9-46EE-894B-37174CE04593}"/>
              </a:ext>
            </a:extLst>
          </p:cNvPr>
          <p:cNvSpPr/>
          <p:nvPr/>
        </p:nvSpPr>
        <p:spPr>
          <a:xfrm>
            <a:off x="512867" y="4635620"/>
            <a:ext cx="11166266" cy="17207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49E6A2-0FDB-434F-B357-3937C34DD888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7699" y="5234047"/>
            <a:ext cx="4467225" cy="52387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6BCE1F76-19BA-464A-ADE8-7D38472BA5B1}"/>
              </a:ext>
            </a:extLst>
          </p:cNvPr>
          <p:cNvSpPr/>
          <p:nvPr/>
        </p:nvSpPr>
        <p:spPr>
          <a:xfrm rot="5400000">
            <a:off x="4934190" y="5400581"/>
            <a:ext cx="1011198" cy="190808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ED7147-CED5-4201-898C-BCAFF939A35E}"/>
              </a:ext>
            </a:extLst>
          </p:cNvPr>
          <p:cNvSpPr/>
          <p:nvPr/>
        </p:nvSpPr>
        <p:spPr>
          <a:xfrm>
            <a:off x="5709591" y="5245262"/>
            <a:ext cx="5587673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200">
                <a:solidFill>
                  <a:schemeClr val="tx1"/>
                </a:solidFill>
              </a:rPr>
              <a:t>Convertimos la variable </a:t>
            </a:r>
            <a:r>
              <a:rPr lang="es-ES" sz="1200" b="1">
                <a:solidFill>
                  <a:srgbClr val="2EC5FC"/>
                </a:solidFill>
              </a:rPr>
              <a:t>‘</a:t>
            </a:r>
            <a:r>
              <a:rPr lang="es-ES" sz="1200" b="1" err="1">
                <a:solidFill>
                  <a:srgbClr val="2EC5FC"/>
                </a:solidFill>
              </a:rPr>
              <a:t>yr_old</a:t>
            </a:r>
            <a:r>
              <a:rPr lang="es-ES" sz="1200" b="1">
                <a:solidFill>
                  <a:srgbClr val="2EC5FC"/>
                </a:solidFill>
              </a:rPr>
              <a:t>’ </a:t>
            </a:r>
            <a:r>
              <a:rPr lang="es-ES" sz="1200">
                <a:solidFill>
                  <a:schemeClr val="tx1"/>
                </a:solidFill>
              </a:rPr>
              <a:t>(antigüedad de la propiedad) en </a:t>
            </a:r>
            <a:r>
              <a:rPr lang="es-ES" sz="1200" b="1">
                <a:solidFill>
                  <a:srgbClr val="2EC5FC"/>
                </a:solidFill>
              </a:rPr>
              <a:t>‘</a:t>
            </a:r>
            <a:r>
              <a:rPr lang="es-ES" sz="1200" b="1" err="1">
                <a:solidFill>
                  <a:srgbClr val="2EC5FC"/>
                </a:solidFill>
              </a:rPr>
              <a:t>yr_built</a:t>
            </a:r>
            <a:r>
              <a:rPr lang="es-ES" sz="1200" b="1">
                <a:solidFill>
                  <a:srgbClr val="2EC5FC"/>
                </a:solidFill>
              </a:rPr>
              <a:t>’ </a:t>
            </a:r>
            <a:r>
              <a:rPr lang="es-ES" sz="1200">
                <a:solidFill>
                  <a:schemeClr val="tx1"/>
                </a:solidFill>
              </a:rPr>
              <a:t>(año de construcción de la misma). De este modo, </a:t>
            </a:r>
            <a:r>
              <a:rPr lang="es-ES" sz="1200" b="1">
                <a:solidFill>
                  <a:srgbClr val="2EC5FC"/>
                </a:solidFill>
              </a:rPr>
              <a:t>estandarizamos la variable </a:t>
            </a:r>
            <a:r>
              <a:rPr lang="es-ES" sz="1200">
                <a:solidFill>
                  <a:schemeClr val="tx1"/>
                </a:solidFill>
              </a:rPr>
              <a:t>para que sea </a:t>
            </a:r>
            <a:r>
              <a:rPr lang="es-ES" sz="1200" b="1">
                <a:solidFill>
                  <a:srgbClr val="2EC5FC"/>
                </a:solidFill>
              </a:rPr>
              <a:t>más fácil de interpretar y graficar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660CCBE2-BCD4-460B-AA7C-F35A4DC59EA4}"/>
              </a:ext>
            </a:extLst>
          </p:cNvPr>
          <p:cNvSpPr/>
          <p:nvPr/>
        </p:nvSpPr>
        <p:spPr>
          <a:xfrm rot="10800000">
            <a:off x="5441120" y="3740925"/>
            <a:ext cx="1309760" cy="111795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4D1442-C30C-4F6B-BFB5-59AE9534B1EB}"/>
              </a:ext>
            </a:extLst>
          </p:cNvPr>
          <p:cNvSpPr/>
          <p:nvPr/>
        </p:nvSpPr>
        <p:spPr>
          <a:xfrm>
            <a:off x="512866" y="3901211"/>
            <a:ext cx="11166265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Convertimos la variable </a:t>
            </a:r>
            <a:r>
              <a:rPr lang="es-ES" sz="1200" b="1">
                <a:solidFill>
                  <a:srgbClr val="2EC5FC"/>
                </a:solidFill>
              </a:rPr>
              <a:t>‘</a:t>
            </a:r>
            <a:r>
              <a:rPr lang="es-ES" sz="1200" b="1" err="1">
                <a:solidFill>
                  <a:srgbClr val="2EC5FC"/>
                </a:solidFill>
              </a:rPr>
              <a:t>yr_last_ren</a:t>
            </a:r>
            <a:r>
              <a:rPr lang="es-ES" sz="1200" b="1">
                <a:solidFill>
                  <a:srgbClr val="2EC5FC"/>
                </a:solidFill>
              </a:rPr>
              <a:t>’ </a:t>
            </a:r>
            <a:r>
              <a:rPr lang="es-ES" sz="1200">
                <a:solidFill>
                  <a:schemeClr val="tx1"/>
                </a:solidFill>
              </a:rPr>
              <a:t>(año de la última renovación) en </a:t>
            </a:r>
            <a:r>
              <a:rPr lang="es-ES" sz="1200" b="1">
                <a:solidFill>
                  <a:srgbClr val="2EC5FC"/>
                </a:solidFill>
              </a:rPr>
              <a:t>‘</a:t>
            </a:r>
            <a:r>
              <a:rPr lang="es-ES" sz="1200" b="1" err="1">
                <a:solidFill>
                  <a:srgbClr val="2EC5FC"/>
                </a:solidFill>
              </a:rPr>
              <a:t>yr_renovated</a:t>
            </a:r>
            <a:r>
              <a:rPr lang="es-ES" sz="1200" b="1">
                <a:solidFill>
                  <a:srgbClr val="2EC5FC"/>
                </a:solidFill>
              </a:rPr>
              <a:t>’ </a:t>
            </a:r>
            <a:r>
              <a:rPr lang="es-ES" sz="1200">
                <a:solidFill>
                  <a:schemeClr val="tx1"/>
                </a:solidFill>
              </a:rPr>
              <a:t>(años transcurridos desde la última renovación). De este modo, </a:t>
            </a:r>
            <a:r>
              <a:rPr lang="es-ES" sz="1200" b="1">
                <a:solidFill>
                  <a:srgbClr val="2EC5FC"/>
                </a:solidFill>
              </a:rPr>
              <a:t>estandarizamos la variable </a:t>
            </a:r>
            <a:r>
              <a:rPr lang="es-ES" sz="1200">
                <a:solidFill>
                  <a:schemeClr val="tx1"/>
                </a:solidFill>
              </a:rPr>
              <a:t>de </a:t>
            </a:r>
            <a:r>
              <a:rPr lang="es-ES" sz="1200" b="1">
                <a:solidFill>
                  <a:srgbClr val="2EC5FC"/>
                </a:solidFill>
              </a:rPr>
              <a:t>cara a su interpretación y visualización </a:t>
            </a:r>
            <a:r>
              <a:rPr lang="es-ES" sz="1200">
                <a:solidFill>
                  <a:schemeClr val="tx1"/>
                </a:solidFill>
              </a:rPr>
              <a:t>gráfica </a:t>
            </a:r>
            <a:endParaRPr lang="es-ES" sz="1200" b="1">
              <a:solidFill>
                <a:srgbClr val="2EC5F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567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4E2400-2539-4F37-8674-71CF91E3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4E2400-2539-4F37-8674-71CF91E3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FD70945-C5A1-42DE-AB29-2B84D5CB0D72}"/>
              </a:ext>
            </a:extLst>
          </p:cNvPr>
          <p:cNvSpPr/>
          <p:nvPr/>
        </p:nvSpPr>
        <p:spPr>
          <a:xfrm>
            <a:off x="512867" y="202592"/>
            <a:ext cx="11166266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ES" sz="2000" b="1">
                <a:solidFill>
                  <a:schemeClr val="tx1"/>
                </a:solidFill>
              </a:rPr>
              <a:t>Creación del Modelo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0E32AB-2513-44B8-A6A8-2251E4BEA658}"/>
              </a:ext>
            </a:extLst>
          </p:cNvPr>
          <p:cNvSpPr/>
          <p:nvPr/>
        </p:nvSpPr>
        <p:spPr>
          <a:xfrm>
            <a:off x="512867" y="1018432"/>
            <a:ext cx="11166266" cy="2410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34C4E708-C099-4A03-BD6D-DFBE19D563FF}"/>
              </a:ext>
            </a:extLst>
          </p:cNvPr>
          <p:cNvSpPr/>
          <p:nvPr/>
        </p:nvSpPr>
        <p:spPr>
          <a:xfrm rot="5400000">
            <a:off x="3112265" y="2128311"/>
            <a:ext cx="1011198" cy="190808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53343D-BB8C-4168-B7F3-40E63E30CC81}"/>
              </a:ext>
            </a:extLst>
          </p:cNvPr>
          <p:cNvSpPr/>
          <p:nvPr/>
        </p:nvSpPr>
        <p:spPr>
          <a:xfrm>
            <a:off x="3887667" y="1972992"/>
            <a:ext cx="6013078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200">
                <a:solidFill>
                  <a:schemeClr val="tx1"/>
                </a:solidFill>
              </a:rPr>
              <a:t>Obtenemos una </a:t>
            </a:r>
            <a:r>
              <a:rPr lang="es-ES" sz="1200" b="1">
                <a:solidFill>
                  <a:srgbClr val="2EC5FC"/>
                </a:solidFill>
              </a:rPr>
              <a:t>matriz de correlaciones</a:t>
            </a:r>
            <a:r>
              <a:rPr lang="es-ES" sz="1200">
                <a:solidFill>
                  <a:schemeClr val="tx1"/>
                </a:solidFill>
              </a:rPr>
              <a:t>. Observamos que la única </a:t>
            </a:r>
            <a:r>
              <a:rPr lang="es-ES" sz="1200" b="1">
                <a:solidFill>
                  <a:srgbClr val="2EC5FC"/>
                </a:solidFill>
              </a:rPr>
              <a:t>correlación fuerte ( &gt;0.8)</a:t>
            </a:r>
            <a:r>
              <a:rPr lang="es-ES" sz="1200">
                <a:solidFill>
                  <a:schemeClr val="tx1"/>
                </a:solidFill>
              </a:rPr>
              <a:t> es entre las variables </a:t>
            </a:r>
            <a:r>
              <a:rPr lang="es-ES" sz="1200" b="1" err="1">
                <a:solidFill>
                  <a:srgbClr val="2EC5FC"/>
                </a:solidFill>
              </a:rPr>
              <a:t>sqft_living</a:t>
            </a:r>
            <a:r>
              <a:rPr lang="es-ES" sz="1200" b="1">
                <a:solidFill>
                  <a:srgbClr val="2EC5FC"/>
                </a:solidFill>
              </a:rPr>
              <a:t> </a:t>
            </a:r>
            <a:r>
              <a:rPr lang="es-ES" sz="1200">
                <a:solidFill>
                  <a:schemeClr val="tx1"/>
                </a:solidFill>
              </a:rPr>
              <a:t>y </a:t>
            </a:r>
            <a:r>
              <a:rPr lang="es-ES" sz="1200" b="1" err="1">
                <a:solidFill>
                  <a:srgbClr val="2EC5FC"/>
                </a:solidFill>
              </a:rPr>
              <a:t>sqft_above</a:t>
            </a:r>
            <a:endParaRPr lang="es-ES" sz="1200" b="1">
              <a:solidFill>
                <a:srgbClr val="2EC5FC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CD226D3-6AF9-46EE-894B-37174CE04593}"/>
              </a:ext>
            </a:extLst>
          </p:cNvPr>
          <p:cNvSpPr/>
          <p:nvPr/>
        </p:nvSpPr>
        <p:spPr>
          <a:xfrm>
            <a:off x="512867" y="3683874"/>
            <a:ext cx="11166266" cy="26724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DD9468F-FB32-4C21-AC0D-308A9268413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1899" y="1136536"/>
            <a:ext cx="2556617" cy="217435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7AF1BA7-62C9-4721-8109-0F6776063696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76020" y="3862689"/>
            <a:ext cx="1779658" cy="133979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D2CD52A-753C-45C4-A96A-03837F14564B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228922" y="3821729"/>
            <a:ext cx="1764491" cy="13398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58ECEDD-D2AA-4FF1-B89D-EE5AB67CB3E8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66657" y="3821729"/>
            <a:ext cx="1749323" cy="1319576"/>
          </a:xfrm>
          <a:prstGeom prst="rect">
            <a:avLst/>
          </a:prstGeom>
        </p:spPr>
      </p:pic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32B39285-B864-462D-9FD2-56D4080D2A24}"/>
              </a:ext>
            </a:extLst>
          </p:cNvPr>
          <p:cNvSpPr/>
          <p:nvPr/>
        </p:nvSpPr>
        <p:spPr>
          <a:xfrm rot="10800000">
            <a:off x="1672995" y="5288030"/>
            <a:ext cx="1185708" cy="169333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3CE8F701-226B-4579-83D3-E678DF9CE086}"/>
              </a:ext>
            </a:extLst>
          </p:cNvPr>
          <p:cNvSpPr/>
          <p:nvPr/>
        </p:nvSpPr>
        <p:spPr>
          <a:xfrm rot="10800000">
            <a:off x="5518313" y="5288030"/>
            <a:ext cx="1185708" cy="169333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5B2806AF-7699-441B-9D88-13D3BA8227B3}"/>
              </a:ext>
            </a:extLst>
          </p:cNvPr>
          <p:cNvSpPr/>
          <p:nvPr/>
        </p:nvSpPr>
        <p:spPr>
          <a:xfrm rot="10800000">
            <a:off x="9348464" y="5288029"/>
            <a:ext cx="1185708" cy="169333"/>
          </a:xfrm>
          <a:prstGeom prst="triangle">
            <a:avLst/>
          </a:prstGeom>
          <a:solidFill>
            <a:srgbClr val="2EC5FC"/>
          </a:solidFill>
          <a:ln>
            <a:solidFill>
              <a:srgbClr val="2EC5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D583D63-0882-4C55-BD4B-2E590E08833F}"/>
              </a:ext>
            </a:extLst>
          </p:cNvPr>
          <p:cNvSpPr/>
          <p:nvPr/>
        </p:nvSpPr>
        <p:spPr>
          <a:xfrm>
            <a:off x="687771" y="5674570"/>
            <a:ext cx="3156155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Hacemos un </a:t>
            </a:r>
            <a:r>
              <a:rPr lang="es-ES" sz="1200" b="1" err="1">
                <a:solidFill>
                  <a:srgbClr val="2EC5FC"/>
                </a:solidFill>
              </a:rPr>
              <a:t>boxplot</a:t>
            </a:r>
            <a:r>
              <a:rPr lang="es-ES" sz="1200">
                <a:solidFill>
                  <a:schemeClr val="tx1"/>
                </a:solidFill>
              </a:rPr>
              <a:t> de la </a:t>
            </a:r>
            <a:r>
              <a:rPr lang="es-ES" sz="1200" b="1">
                <a:solidFill>
                  <a:srgbClr val="2EC5FC"/>
                </a:solidFill>
              </a:rPr>
              <a:t>variable </a:t>
            </a:r>
            <a:r>
              <a:rPr lang="es-ES" sz="1200" b="1" err="1">
                <a:solidFill>
                  <a:srgbClr val="2EC5FC"/>
                </a:solidFill>
              </a:rPr>
              <a:t>sqft_living</a:t>
            </a:r>
            <a:r>
              <a:rPr lang="es-ES" sz="120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s-ES" sz="1200" b="1">
                <a:solidFill>
                  <a:srgbClr val="2EC5FC"/>
                </a:solidFill>
              </a:rPr>
              <a:t>Eliminamos los </a:t>
            </a:r>
            <a:r>
              <a:rPr lang="es-ES" sz="1200" b="1" err="1">
                <a:solidFill>
                  <a:srgbClr val="2EC5FC"/>
                </a:solidFill>
              </a:rPr>
              <a:t>outliers</a:t>
            </a:r>
            <a:r>
              <a:rPr lang="es-ES" sz="1200" b="1">
                <a:solidFill>
                  <a:srgbClr val="2EC5FC"/>
                </a:solidFill>
              </a:rPr>
              <a:t> </a:t>
            </a:r>
            <a:r>
              <a:rPr lang="es-ES" sz="1200">
                <a:solidFill>
                  <a:schemeClr val="tx1"/>
                </a:solidFill>
              </a:rPr>
              <a:t>que añaden ruido, </a:t>
            </a:r>
            <a:r>
              <a:rPr lang="es-ES" sz="1200" b="1">
                <a:solidFill>
                  <a:srgbClr val="2EC5FC"/>
                </a:solidFill>
              </a:rPr>
              <a:t>limitando la variable a 450,000 </a:t>
            </a:r>
            <a:r>
              <a:rPr lang="es-ES" sz="1200" err="1">
                <a:solidFill>
                  <a:schemeClr val="tx1"/>
                </a:solidFill>
              </a:rPr>
              <a:t>sqft</a:t>
            </a:r>
            <a:endParaRPr lang="es-ES" sz="1200">
              <a:solidFill>
                <a:srgbClr val="2EC5FC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76C883A-ECCE-434E-B156-0A5C49B0579C}"/>
              </a:ext>
            </a:extLst>
          </p:cNvPr>
          <p:cNvSpPr/>
          <p:nvPr/>
        </p:nvSpPr>
        <p:spPr>
          <a:xfrm>
            <a:off x="4533090" y="5674570"/>
            <a:ext cx="3156155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Hacemos un </a:t>
            </a:r>
            <a:r>
              <a:rPr lang="es-ES" sz="1200" b="1" err="1">
                <a:solidFill>
                  <a:srgbClr val="2EC5FC"/>
                </a:solidFill>
              </a:rPr>
              <a:t>boxplot</a:t>
            </a:r>
            <a:r>
              <a:rPr lang="es-ES" sz="1200">
                <a:solidFill>
                  <a:schemeClr val="tx1"/>
                </a:solidFill>
              </a:rPr>
              <a:t> de la </a:t>
            </a:r>
            <a:r>
              <a:rPr lang="es-ES" sz="1200" b="1">
                <a:solidFill>
                  <a:srgbClr val="2EC5FC"/>
                </a:solidFill>
              </a:rPr>
              <a:t>variable </a:t>
            </a:r>
            <a:r>
              <a:rPr lang="es-ES" sz="1200" b="1" err="1">
                <a:solidFill>
                  <a:srgbClr val="2EC5FC"/>
                </a:solidFill>
              </a:rPr>
              <a:t>price</a:t>
            </a:r>
            <a:r>
              <a:rPr lang="es-ES" sz="120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s-ES" sz="1200" b="1">
                <a:solidFill>
                  <a:srgbClr val="2EC5FC"/>
                </a:solidFill>
              </a:rPr>
              <a:t>Eliminamos los </a:t>
            </a:r>
            <a:r>
              <a:rPr lang="es-ES" sz="1200" b="1" err="1">
                <a:solidFill>
                  <a:srgbClr val="2EC5FC"/>
                </a:solidFill>
              </a:rPr>
              <a:t>outliers</a:t>
            </a:r>
            <a:r>
              <a:rPr lang="es-ES" sz="1200" b="1">
                <a:solidFill>
                  <a:srgbClr val="2EC5FC"/>
                </a:solidFill>
              </a:rPr>
              <a:t> </a:t>
            </a:r>
            <a:r>
              <a:rPr lang="es-ES" sz="1200">
                <a:solidFill>
                  <a:schemeClr val="tx1"/>
                </a:solidFill>
              </a:rPr>
              <a:t>que añaden ruido, </a:t>
            </a:r>
            <a:r>
              <a:rPr lang="es-ES" sz="1200" b="1">
                <a:solidFill>
                  <a:srgbClr val="2EC5FC"/>
                </a:solidFill>
              </a:rPr>
              <a:t>limitando la variable a 300,000 </a:t>
            </a:r>
            <a:r>
              <a:rPr lang="es-ES" sz="1200">
                <a:solidFill>
                  <a:schemeClr val="tx1"/>
                </a:solidFill>
              </a:rPr>
              <a:t>unidades monetarias</a:t>
            </a:r>
            <a:endParaRPr lang="es-ES" sz="1200">
              <a:solidFill>
                <a:srgbClr val="2EC5FC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E20DB1-4C9B-439E-BAC5-DDAFBBE5F088}"/>
              </a:ext>
            </a:extLst>
          </p:cNvPr>
          <p:cNvSpPr/>
          <p:nvPr/>
        </p:nvSpPr>
        <p:spPr>
          <a:xfrm>
            <a:off x="8363241" y="5674570"/>
            <a:ext cx="3156155" cy="50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Hacemos un </a:t>
            </a:r>
            <a:r>
              <a:rPr lang="es-ES" sz="1200" b="1" err="1">
                <a:solidFill>
                  <a:srgbClr val="2EC5FC"/>
                </a:solidFill>
              </a:rPr>
              <a:t>boxplot</a:t>
            </a:r>
            <a:r>
              <a:rPr lang="es-ES" sz="1200">
                <a:solidFill>
                  <a:schemeClr val="tx1"/>
                </a:solidFill>
              </a:rPr>
              <a:t> de la </a:t>
            </a:r>
            <a:r>
              <a:rPr lang="es-ES" sz="1200" b="1">
                <a:solidFill>
                  <a:srgbClr val="2EC5FC"/>
                </a:solidFill>
              </a:rPr>
              <a:t>variable </a:t>
            </a:r>
            <a:r>
              <a:rPr lang="es-ES" sz="1200" b="1" err="1">
                <a:solidFill>
                  <a:srgbClr val="2EC5FC"/>
                </a:solidFill>
              </a:rPr>
              <a:t>sqft_lot</a:t>
            </a:r>
            <a:r>
              <a:rPr lang="es-ES" sz="120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s-ES" sz="1200" b="1">
                <a:solidFill>
                  <a:srgbClr val="2EC5FC"/>
                </a:solidFill>
              </a:rPr>
              <a:t>Eliminamos los </a:t>
            </a:r>
            <a:r>
              <a:rPr lang="es-ES" sz="1200" b="1" err="1">
                <a:solidFill>
                  <a:srgbClr val="2EC5FC"/>
                </a:solidFill>
              </a:rPr>
              <a:t>outliers</a:t>
            </a:r>
            <a:r>
              <a:rPr lang="es-ES" sz="1200" b="1">
                <a:solidFill>
                  <a:srgbClr val="2EC5FC"/>
                </a:solidFill>
              </a:rPr>
              <a:t> </a:t>
            </a:r>
            <a:r>
              <a:rPr lang="es-ES" sz="1200">
                <a:solidFill>
                  <a:schemeClr val="tx1"/>
                </a:solidFill>
              </a:rPr>
              <a:t>que añaden ruido, </a:t>
            </a:r>
            <a:r>
              <a:rPr lang="es-ES" sz="1200" b="1">
                <a:solidFill>
                  <a:srgbClr val="2EC5FC"/>
                </a:solidFill>
              </a:rPr>
              <a:t>limitando la variable a 175,000</a:t>
            </a:r>
            <a:r>
              <a:rPr lang="es-ES" sz="1200">
                <a:solidFill>
                  <a:schemeClr val="tx1"/>
                </a:solidFill>
              </a:rPr>
              <a:t> </a:t>
            </a:r>
            <a:r>
              <a:rPr lang="es-ES" sz="1200" err="1">
                <a:solidFill>
                  <a:schemeClr val="tx1"/>
                </a:solidFill>
              </a:rPr>
              <a:t>sqft</a:t>
            </a:r>
            <a:endParaRPr lang="es-ES" sz="1200">
              <a:solidFill>
                <a:srgbClr val="2EC5F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305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090D22D96FFB449C21550DCF6EAC95" ma:contentTypeVersion="2" ma:contentTypeDescription="Create a new document." ma:contentTypeScope="" ma:versionID="4e485e5d40a7cf6e1e2997c26ed63a89">
  <xsd:schema xmlns:xsd="http://www.w3.org/2001/XMLSchema" xmlns:xs="http://www.w3.org/2001/XMLSchema" xmlns:p="http://schemas.microsoft.com/office/2006/metadata/properties" xmlns:ns2="29a77037-49eb-4cbf-a121-9e7a19052b3c" targetNamespace="http://schemas.microsoft.com/office/2006/metadata/properties" ma:root="true" ma:fieldsID="6394ef9f6644fbdf22f74974aa9d22f0" ns2:_="">
    <xsd:import namespace="29a77037-49eb-4cbf-a121-9e7a19052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a77037-49eb-4cbf-a121-9e7a19052b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667D931-50F0-4DC6-A91B-0F8A952E649F}">
  <ds:schemaRefs>
    <ds:schemaRef ds:uri="29a77037-49eb-4cbf-a121-9e7a19052b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65D3D3C-C8CE-43BA-8768-FECE71EFE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895622-38C2-4F5A-9A2B-D638E6E5F4D9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3</Slides>
  <Notes>1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 Cunyat Llorens</dc:creator>
  <cp:revision>1</cp:revision>
  <dcterms:created xsi:type="dcterms:W3CDTF">2022-11-23T14:49:18Z</dcterms:created>
  <dcterms:modified xsi:type="dcterms:W3CDTF">2022-11-24T15:4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090D22D96FFB449C21550DCF6EAC95</vt:lpwstr>
  </property>
</Properties>
</file>